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41"/>
  </p:notesMasterIdLst>
  <p:sldIdLst>
    <p:sldId id="356" r:id="rId2"/>
    <p:sldId id="307" r:id="rId3"/>
    <p:sldId id="357" r:id="rId4"/>
    <p:sldId id="324" r:id="rId5"/>
    <p:sldId id="326" r:id="rId6"/>
    <p:sldId id="327" r:id="rId7"/>
    <p:sldId id="323" r:id="rId8"/>
    <p:sldId id="308" r:id="rId9"/>
    <p:sldId id="329" r:id="rId10"/>
    <p:sldId id="358" r:id="rId11"/>
    <p:sldId id="331" r:id="rId12"/>
    <p:sldId id="332" r:id="rId13"/>
    <p:sldId id="333" r:id="rId14"/>
    <p:sldId id="334" r:id="rId15"/>
    <p:sldId id="335" r:id="rId16"/>
    <p:sldId id="336" r:id="rId17"/>
    <p:sldId id="337" r:id="rId18"/>
    <p:sldId id="359" r:id="rId19"/>
    <p:sldId id="338" r:id="rId20"/>
    <p:sldId id="340" r:id="rId21"/>
    <p:sldId id="341" r:id="rId22"/>
    <p:sldId id="342" r:id="rId23"/>
    <p:sldId id="343" r:id="rId24"/>
    <p:sldId id="344" r:id="rId25"/>
    <p:sldId id="345" r:id="rId26"/>
    <p:sldId id="346" r:id="rId27"/>
    <p:sldId id="347" r:id="rId28"/>
    <p:sldId id="362" r:id="rId29"/>
    <p:sldId id="348" r:id="rId30"/>
    <p:sldId id="360" r:id="rId31"/>
    <p:sldId id="328" r:id="rId32"/>
    <p:sldId id="350" r:id="rId33"/>
    <p:sldId id="468" r:id="rId34"/>
    <p:sldId id="309" r:id="rId35"/>
    <p:sldId id="352" r:id="rId36"/>
    <p:sldId id="353" r:id="rId37"/>
    <p:sldId id="361" r:id="rId38"/>
    <p:sldId id="354" r:id="rId39"/>
    <p:sldId id="261" r:id="rId40"/>
  </p:sldIdLst>
  <p:sldSz cx="12192000" cy="6858000"/>
  <p:notesSz cx="6858000" cy="9144000"/>
  <p:custDataLst>
    <p:tags r:id="rId4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5C"/>
    <a:srgbClr val="06D24C"/>
    <a:srgbClr val="035920"/>
    <a:srgbClr val="F6F5F3"/>
    <a:srgbClr val="04862F"/>
    <a:srgbClr val="07DB4E"/>
    <a:srgbClr val="08396E"/>
    <a:srgbClr val="0519AB"/>
    <a:srgbClr val="06BE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91" d="100"/>
          <a:sy n="91" d="100"/>
        </p:scale>
        <p:origin x="76" y="15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5/2/2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689687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5/2/2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25681" y="172376"/>
            <a:ext cx="10969200" cy="705600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>
              <a:defRPr sz="3200"/>
            </a:lvl1pPr>
          </a:lstStyle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08400" y="1334414"/>
            <a:ext cx="10969200" cy="4759200"/>
          </a:xfrm>
        </p:spPr>
        <p:txBody>
          <a:bodyPr vert="horz" lIns="90000" tIns="46800" rIns="90000" bIns="46800" rtlCol="0">
            <a:normAutofit/>
          </a:bodyPr>
          <a:lstStyle>
            <a:lvl1pPr>
              <a:defRPr sz="2800" b="1">
                <a:solidFill>
                  <a:srgbClr val="0070C0"/>
                </a:solidFill>
              </a:defRPr>
            </a:lvl1pPr>
            <a:lvl2pPr>
              <a:defRPr sz="2400" b="0">
                <a:solidFill>
                  <a:schemeClr val="tx1"/>
                </a:solidFill>
              </a:defRPr>
            </a:lvl2pPr>
            <a:lvl3pPr>
              <a:defRPr sz="2000" b="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510501DC-3EA8-8A2C-D1EA-147A97B62F70}"/>
              </a:ext>
            </a:extLst>
          </p:cNvPr>
          <p:cNvCxnSpPr/>
          <p:nvPr userDrawn="1"/>
        </p:nvCxnSpPr>
        <p:spPr>
          <a:xfrm>
            <a:off x="359739" y="985552"/>
            <a:ext cx="11430297" cy="0"/>
          </a:xfrm>
          <a:prstGeom prst="line">
            <a:avLst/>
          </a:prstGeom>
          <a:ln w="571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图片 8">
            <a:extLst>
              <a:ext uri="{FF2B5EF4-FFF2-40B4-BE49-F238E27FC236}">
                <a16:creationId xmlns:a16="http://schemas.microsoft.com/office/drawing/2014/main" id="{D0B8E2F4-C99F-F948-7A81-FCB16B17C4C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2520" y="238397"/>
            <a:ext cx="2105080" cy="614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日期占位符 8">
            <a:extLst>
              <a:ext uri="{FF2B5EF4-FFF2-40B4-BE49-F238E27FC236}">
                <a16:creationId xmlns:a16="http://schemas.microsoft.com/office/drawing/2014/main" id="{B200D611-D95F-BE1B-EEDE-D340F8462F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altLang="zh-CN"/>
              <a:t>2024/3/3</a:t>
            </a:r>
            <a:endParaRPr lang="zh-CN" altLang="en-US" dirty="0"/>
          </a:p>
        </p:txBody>
      </p:sp>
      <p:sp>
        <p:nvSpPr>
          <p:cNvPr id="10" name="页脚占位符 9">
            <a:extLst>
              <a:ext uri="{FF2B5EF4-FFF2-40B4-BE49-F238E27FC236}">
                <a16:creationId xmlns:a16="http://schemas.microsoft.com/office/drawing/2014/main" id="{69222A86-31B2-8948-BB48-8C6E60314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第一章 操作系统引论</a:t>
            </a:r>
            <a:endParaRPr lang="zh-CN" altLang="en-US" dirty="0"/>
          </a:p>
        </p:txBody>
      </p:sp>
      <p:sp>
        <p:nvSpPr>
          <p:cNvPr id="11" name="灯片编号占位符 10">
            <a:extLst>
              <a:ext uri="{FF2B5EF4-FFF2-40B4-BE49-F238E27FC236}">
                <a16:creationId xmlns:a16="http://schemas.microsoft.com/office/drawing/2014/main" id="{E47106A4-A908-012E-3C4C-C5F75265F4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9AE70B2-8BF9-45C0-BB95-33D1B9D3A854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034339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5/2/24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ilibili.com/video/av35961079" TargetMode="External"/><Relationship Id="rId2" Type="http://schemas.openxmlformats.org/officeDocument/2006/relationships/hyperlink" Target="https://www.harmonyos.com/cn/develop" TargetMode="Externa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bilibili.com/video/BV1us411z7X4?from=search&amp;seid=8975057507768509966" TargetMode="Externa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solidFill>
                  <a:srgbClr val="00005C"/>
                </a:solidFill>
                <a:latin typeface="+mj-ea"/>
                <a:ea typeface="+mj-ea"/>
              </a:rPr>
              <a:t>1.1 </a:t>
            </a:r>
            <a:r>
              <a:rPr lang="zh-CN" altLang="en-US" sz="2400" dirty="0">
                <a:solidFill>
                  <a:srgbClr val="00005C"/>
                </a:solidFill>
                <a:latin typeface="+mj-ea"/>
                <a:ea typeface="+mj-ea"/>
              </a:rPr>
              <a:t>操作系统的目标和作用</a:t>
            </a:r>
            <a:endParaRPr lang="en-US" altLang="zh-CN" sz="2400" dirty="0">
              <a:solidFill>
                <a:srgbClr val="00005C"/>
              </a:solidFill>
              <a:latin typeface="+mj-ea"/>
              <a:ea typeface="+mj-ea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2 </a:t>
            </a:r>
            <a:r>
              <a:rPr lang="zh-CN" altLang="en-US" sz="2400" dirty="0">
                <a:latin typeface="+mj-ea"/>
              </a:rPr>
              <a:t>操作系统的发展过程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</a:rPr>
              <a:t>1.3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</a:rPr>
              <a:t>操作系统的基本特征</a:t>
            </a:r>
            <a:endParaRPr lang="en-US" altLang="zh-CN" sz="2400" b="1" dirty="0">
              <a:solidFill>
                <a:srgbClr val="0000FF"/>
              </a:solidFill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4 </a:t>
            </a:r>
            <a:r>
              <a:rPr lang="zh-CN" altLang="en-US" sz="2400" dirty="0">
                <a:latin typeface="+mj-ea"/>
              </a:rPr>
              <a:t>操作系统的运行环境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233048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5 </a:t>
            </a:r>
            <a:r>
              <a:rPr lang="zh-CN" altLang="en-US" sz="2400" dirty="0">
                <a:latin typeface="+mj-ea"/>
              </a:rPr>
              <a:t>操作系统的主要功能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852173"/>
            <a:ext cx="36821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6 </a:t>
            </a:r>
            <a:r>
              <a:rPr lang="zh-CN" altLang="en-US" sz="2400" dirty="0">
                <a:latin typeface="+mj-ea"/>
              </a:rPr>
              <a:t>操作系统的结构设计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471298"/>
            <a:ext cx="258744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7 </a:t>
            </a:r>
            <a:r>
              <a:rPr lang="zh-CN" altLang="en-US" sz="2400" dirty="0">
                <a:latin typeface="+mj-ea"/>
              </a:rPr>
              <a:t>系统调用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26270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1</a:t>
            </a:r>
            <a:r>
              <a:rPr lang="zh-CN" altLang="en-US" sz="3600" dirty="0">
                <a:solidFill>
                  <a:srgbClr val="000000"/>
                </a:solidFill>
              </a:rPr>
              <a:t>章 操作系统引论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565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233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42408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solidFill>
                  <a:srgbClr val="00005C"/>
                </a:solidFill>
                <a:latin typeface="+mj-ea"/>
                <a:ea typeface="+mj-ea"/>
              </a:rPr>
              <a:t>1.1 </a:t>
            </a:r>
            <a:r>
              <a:rPr lang="zh-CN" altLang="en-US" sz="2400" dirty="0">
                <a:solidFill>
                  <a:srgbClr val="00005C"/>
                </a:solidFill>
                <a:latin typeface="+mj-ea"/>
                <a:ea typeface="+mj-ea"/>
              </a:rPr>
              <a:t>操作系统的目标和作用</a:t>
            </a:r>
            <a:endParaRPr lang="en-US" altLang="zh-CN" sz="2400" dirty="0">
              <a:solidFill>
                <a:srgbClr val="00005C"/>
              </a:solidFill>
              <a:latin typeface="+mj-ea"/>
              <a:ea typeface="+mj-ea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2 </a:t>
            </a:r>
            <a:r>
              <a:rPr lang="zh-CN" altLang="en-US" sz="2400" dirty="0">
                <a:latin typeface="+mj-ea"/>
              </a:rPr>
              <a:t>操作系统的发展过程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3 </a:t>
            </a:r>
            <a:r>
              <a:rPr lang="zh-CN" altLang="en-US" sz="2400" dirty="0">
                <a:latin typeface="+mj-ea"/>
              </a:rPr>
              <a:t>操作系统的基本特征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4 </a:t>
            </a:r>
            <a:r>
              <a:rPr lang="zh-CN" altLang="en-US" sz="2400" dirty="0">
                <a:latin typeface="+mj-ea"/>
              </a:rPr>
              <a:t>操作系统的运行环境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233048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</a:rPr>
              <a:t>1.5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</a:rPr>
              <a:t>操作系统的主要功能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852173"/>
            <a:ext cx="36821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6 </a:t>
            </a:r>
            <a:r>
              <a:rPr lang="zh-CN" altLang="en-US" sz="2400" dirty="0">
                <a:latin typeface="+mj-ea"/>
              </a:rPr>
              <a:t>操作系统的结构设计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471298"/>
            <a:ext cx="258744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7 </a:t>
            </a:r>
            <a:r>
              <a:rPr lang="zh-CN" altLang="en-US" sz="2400" dirty="0">
                <a:latin typeface="+mj-ea"/>
              </a:rPr>
              <a:t>系统调用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26270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1</a:t>
            </a:r>
            <a:r>
              <a:rPr lang="zh-CN" altLang="en-US" sz="3600" dirty="0">
                <a:solidFill>
                  <a:srgbClr val="000000"/>
                </a:solidFill>
              </a:rPr>
              <a:t>章 操作系统引论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565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233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42408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操作系统的主要功能</a:t>
            </a:r>
          </a:p>
        </p:txBody>
      </p:sp>
      <p:grpSp>
        <p:nvGrpSpPr>
          <p:cNvPr id="58" name="22440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54015" y="1595646"/>
            <a:ext cx="10848974" cy="3733544"/>
            <a:chOff x="665163" y="1557009"/>
            <a:chExt cx="10848974" cy="3733544"/>
          </a:xfrm>
        </p:grpSpPr>
        <p:sp>
          <p:nvSpPr>
            <p:cNvPr id="59" name="íśḷíḋé"/>
            <p:cNvSpPr/>
            <p:nvPr/>
          </p:nvSpPr>
          <p:spPr bwMode="auto">
            <a:xfrm>
              <a:off x="4801181" y="2133141"/>
              <a:ext cx="2589100" cy="2588226"/>
            </a:xfrm>
            <a:prstGeom prst="ellipse">
              <a:avLst/>
            </a:prstGeom>
            <a:blipFill>
              <a:blip r:embed="rId3"/>
              <a:stretch>
                <a:fillRect l="-25098" r="-24851"/>
              </a:stretch>
            </a:blipFill>
            <a:ln w="57150">
              <a:solidFill>
                <a:schemeClr val="bg1">
                  <a:lumMod val="95000"/>
                </a:schemeClr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/>
              <a:endParaRPr lang="en-US" sz="2800" b="1">
                <a:solidFill>
                  <a:schemeClr val="lt1"/>
                </a:solidFill>
              </a:endParaRPr>
            </a:p>
          </p:txBody>
        </p:sp>
        <p:sp>
          <p:nvSpPr>
            <p:cNvPr id="60" name="ïSlïďè"/>
            <p:cNvSpPr/>
            <p:nvPr/>
          </p:nvSpPr>
          <p:spPr bwMode="auto">
            <a:xfrm>
              <a:off x="4955845" y="2290426"/>
              <a:ext cx="343408" cy="342533"/>
            </a:xfrm>
            <a:custGeom>
              <a:avLst/>
              <a:gdLst>
                <a:gd name="T0" fmla="*/ 777 w 863"/>
                <a:gd name="T1" fmla="*/ 460 h 861"/>
                <a:gd name="T2" fmla="*/ 505 w 863"/>
                <a:gd name="T3" fmla="*/ 427 h 861"/>
                <a:gd name="T4" fmla="*/ 75 w 863"/>
                <a:gd name="T5" fmla="*/ 0 h 861"/>
                <a:gd name="T6" fmla="*/ 0 w 863"/>
                <a:gd name="T7" fmla="*/ 75 h 861"/>
                <a:gd name="T8" fmla="*/ 430 w 863"/>
                <a:gd name="T9" fmla="*/ 503 h 861"/>
                <a:gd name="T10" fmla="*/ 463 w 863"/>
                <a:gd name="T11" fmla="*/ 774 h 861"/>
                <a:gd name="T12" fmla="*/ 777 w 863"/>
                <a:gd name="T13" fmla="*/ 774 h 861"/>
                <a:gd name="T14" fmla="*/ 777 w 863"/>
                <a:gd name="T15" fmla="*/ 460 h 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3" h="861">
                  <a:moveTo>
                    <a:pt x="777" y="460"/>
                  </a:moveTo>
                  <a:cubicBezTo>
                    <a:pt x="703" y="386"/>
                    <a:pt x="590" y="376"/>
                    <a:pt x="505" y="427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430" y="503"/>
                    <a:pt x="430" y="503"/>
                    <a:pt x="430" y="503"/>
                  </a:cubicBezTo>
                  <a:cubicBezTo>
                    <a:pt x="378" y="588"/>
                    <a:pt x="389" y="700"/>
                    <a:pt x="463" y="774"/>
                  </a:cubicBezTo>
                  <a:cubicBezTo>
                    <a:pt x="549" y="861"/>
                    <a:pt x="690" y="861"/>
                    <a:pt x="777" y="774"/>
                  </a:cubicBezTo>
                  <a:cubicBezTo>
                    <a:pt x="863" y="687"/>
                    <a:pt x="863" y="547"/>
                    <a:pt x="777" y="4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/>
            <a:p>
              <a:endParaRPr lang="en-US"/>
            </a:p>
          </p:txBody>
        </p:sp>
        <p:sp>
          <p:nvSpPr>
            <p:cNvPr id="61" name="îśľïḓê"/>
            <p:cNvSpPr/>
            <p:nvPr/>
          </p:nvSpPr>
          <p:spPr bwMode="auto">
            <a:xfrm>
              <a:off x="4523309" y="3361717"/>
              <a:ext cx="394089" cy="176509"/>
            </a:xfrm>
            <a:custGeom>
              <a:avLst/>
              <a:gdLst>
                <a:gd name="T0" fmla="*/ 770 w 992"/>
                <a:gd name="T1" fmla="*/ 0 h 444"/>
                <a:gd name="T2" fmla="*/ 555 w 992"/>
                <a:gd name="T3" fmla="*/ 169 h 444"/>
                <a:gd name="T4" fmla="*/ 0 w 992"/>
                <a:gd name="T5" fmla="*/ 169 h 444"/>
                <a:gd name="T6" fmla="*/ 0 w 992"/>
                <a:gd name="T7" fmla="*/ 275 h 444"/>
                <a:gd name="T8" fmla="*/ 555 w 992"/>
                <a:gd name="T9" fmla="*/ 275 h 444"/>
                <a:gd name="T10" fmla="*/ 770 w 992"/>
                <a:gd name="T11" fmla="*/ 444 h 444"/>
                <a:gd name="T12" fmla="*/ 992 w 992"/>
                <a:gd name="T13" fmla="*/ 222 h 444"/>
                <a:gd name="T14" fmla="*/ 770 w 992"/>
                <a:gd name="T15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92" h="444">
                  <a:moveTo>
                    <a:pt x="770" y="0"/>
                  </a:moveTo>
                  <a:cubicBezTo>
                    <a:pt x="666" y="0"/>
                    <a:pt x="578" y="72"/>
                    <a:pt x="555" y="169"/>
                  </a:cubicBezTo>
                  <a:cubicBezTo>
                    <a:pt x="0" y="169"/>
                    <a:pt x="0" y="169"/>
                    <a:pt x="0" y="169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555" y="275"/>
                    <a:pt x="555" y="275"/>
                    <a:pt x="555" y="275"/>
                  </a:cubicBezTo>
                  <a:cubicBezTo>
                    <a:pt x="578" y="372"/>
                    <a:pt x="666" y="444"/>
                    <a:pt x="770" y="444"/>
                  </a:cubicBezTo>
                  <a:cubicBezTo>
                    <a:pt x="892" y="444"/>
                    <a:pt x="992" y="344"/>
                    <a:pt x="992" y="222"/>
                  </a:cubicBezTo>
                  <a:cubicBezTo>
                    <a:pt x="992" y="99"/>
                    <a:pt x="892" y="0"/>
                    <a:pt x="7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/>
            </a:p>
          </p:txBody>
        </p:sp>
        <p:sp>
          <p:nvSpPr>
            <p:cNvPr id="62" name="ïSlíďé"/>
            <p:cNvSpPr/>
            <p:nvPr/>
          </p:nvSpPr>
          <p:spPr bwMode="auto">
            <a:xfrm>
              <a:off x="4225048" y="1557009"/>
              <a:ext cx="846430" cy="84643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63" name="îSḷîḑê"/>
            <p:cNvSpPr/>
            <p:nvPr/>
          </p:nvSpPr>
          <p:spPr bwMode="auto">
            <a:xfrm>
              <a:off x="3622073" y="2998796"/>
              <a:ext cx="847397" cy="84643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64" name="îṣlîḑê"/>
            <p:cNvSpPr/>
            <p:nvPr/>
          </p:nvSpPr>
          <p:spPr bwMode="auto">
            <a:xfrm>
              <a:off x="4945359" y="4227664"/>
              <a:ext cx="352146" cy="352146"/>
            </a:xfrm>
            <a:custGeom>
              <a:avLst/>
              <a:gdLst>
                <a:gd name="T0" fmla="*/ 797 w 884"/>
                <a:gd name="T1" fmla="*/ 87 h 886"/>
                <a:gd name="T2" fmla="*/ 483 w 884"/>
                <a:gd name="T3" fmla="*/ 87 h 886"/>
                <a:gd name="T4" fmla="*/ 450 w 884"/>
                <a:gd name="T5" fmla="*/ 358 h 886"/>
                <a:gd name="T6" fmla="*/ 0 w 884"/>
                <a:gd name="T7" fmla="*/ 811 h 886"/>
                <a:gd name="T8" fmla="*/ 75 w 884"/>
                <a:gd name="T9" fmla="*/ 886 h 886"/>
                <a:gd name="T10" fmla="*/ 525 w 884"/>
                <a:gd name="T11" fmla="*/ 434 h 886"/>
                <a:gd name="T12" fmla="*/ 797 w 884"/>
                <a:gd name="T13" fmla="*/ 401 h 886"/>
                <a:gd name="T14" fmla="*/ 797 w 884"/>
                <a:gd name="T15" fmla="*/ 8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4" h="886">
                  <a:moveTo>
                    <a:pt x="797" y="87"/>
                  </a:moveTo>
                  <a:cubicBezTo>
                    <a:pt x="710" y="0"/>
                    <a:pt x="570" y="0"/>
                    <a:pt x="483" y="87"/>
                  </a:cubicBezTo>
                  <a:cubicBezTo>
                    <a:pt x="409" y="161"/>
                    <a:pt x="399" y="273"/>
                    <a:pt x="450" y="358"/>
                  </a:cubicBezTo>
                  <a:cubicBezTo>
                    <a:pt x="0" y="811"/>
                    <a:pt x="0" y="811"/>
                    <a:pt x="0" y="811"/>
                  </a:cubicBezTo>
                  <a:cubicBezTo>
                    <a:pt x="75" y="886"/>
                    <a:pt x="75" y="886"/>
                    <a:pt x="75" y="886"/>
                  </a:cubicBezTo>
                  <a:cubicBezTo>
                    <a:pt x="525" y="434"/>
                    <a:pt x="525" y="434"/>
                    <a:pt x="525" y="434"/>
                  </a:cubicBezTo>
                  <a:cubicBezTo>
                    <a:pt x="611" y="485"/>
                    <a:pt x="723" y="475"/>
                    <a:pt x="797" y="401"/>
                  </a:cubicBezTo>
                  <a:cubicBezTo>
                    <a:pt x="884" y="314"/>
                    <a:pt x="884" y="174"/>
                    <a:pt x="797" y="8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/>
            <a:p>
              <a:endParaRPr lang="en-US"/>
            </a:p>
          </p:txBody>
        </p:sp>
        <p:sp>
          <p:nvSpPr>
            <p:cNvPr id="65" name="ï$ľîḓé"/>
            <p:cNvSpPr/>
            <p:nvPr/>
          </p:nvSpPr>
          <p:spPr bwMode="auto">
            <a:xfrm flipH="1">
              <a:off x="6892749" y="2290426"/>
              <a:ext cx="343408" cy="342533"/>
            </a:xfrm>
            <a:custGeom>
              <a:avLst/>
              <a:gdLst>
                <a:gd name="T0" fmla="*/ 777 w 863"/>
                <a:gd name="T1" fmla="*/ 460 h 861"/>
                <a:gd name="T2" fmla="*/ 505 w 863"/>
                <a:gd name="T3" fmla="*/ 427 h 861"/>
                <a:gd name="T4" fmla="*/ 75 w 863"/>
                <a:gd name="T5" fmla="*/ 0 h 861"/>
                <a:gd name="T6" fmla="*/ 0 w 863"/>
                <a:gd name="T7" fmla="*/ 75 h 861"/>
                <a:gd name="T8" fmla="*/ 430 w 863"/>
                <a:gd name="T9" fmla="*/ 503 h 861"/>
                <a:gd name="T10" fmla="*/ 463 w 863"/>
                <a:gd name="T11" fmla="*/ 774 h 861"/>
                <a:gd name="T12" fmla="*/ 777 w 863"/>
                <a:gd name="T13" fmla="*/ 774 h 861"/>
                <a:gd name="T14" fmla="*/ 777 w 863"/>
                <a:gd name="T15" fmla="*/ 460 h 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3" h="861">
                  <a:moveTo>
                    <a:pt x="777" y="460"/>
                  </a:moveTo>
                  <a:cubicBezTo>
                    <a:pt x="703" y="386"/>
                    <a:pt x="590" y="376"/>
                    <a:pt x="505" y="427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430" y="503"/>
                    <a:pt x="430" y="503"/>
                    <a:pt x="430" y="503"/>
                  </a:cubicBezTo>
                  <a:cubicBezTo>
                    <a:pt x="378" y="588"/>
                    <a:pt x="389" y="700"/>
                    <a:pt x="463" y="774"/>
                  </a:cubicBezTo>
                  <a:cubicBezTo>
                    <a:pt x="549" y="861"/>
                    <a:pt x="690" y="861"/>
                    <a:pt x="777" y="774"/>
                  </a:cubicBezTo>
                  <a:cubicBezTo>
                    <a:pt x="863" y="687"/>
                    <a:pt x="863" y="547"/>
                    <a:pt x="777" y="46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/>
            <a:p>
              <a:endParaRPr lang="en-US"/>
            </a:p>
          </p:txBody>
        </p:sp>
        <p:sp>
          <p:nvSpPr>
            <p:cNvPr id="66" name="isḷiḋé"/>
            <p:cNvSpPr/>
            <p:nvPr/>
          </p:nvSpPr>
          <p:spPr bwMode="auto">
            <a:xfrm flipH="1">
              <a:off x="7274604" y="3361717"/>
              <a:ext cx="394089" cy="176509"/>
            </a:xfrm>
            <a:custGeom>
              <a:avLst/>
              <a:gdLst>
                <a:gd name="T0" fmla="*/ 770 w 992"/>
                <a:gd name="T1" fmla="*/ 0 h 444"/>
                <a:gd name="T2" fmla="*/ 555 w 992"/>
                <a:gd name="T3" fmla="*/ 169 h 444"/>
                <a:gd name="T4" fmla="*/ 0 w 992"/>
                <a:gd name="T5" fmla="*/ 169 h 444"/>
                <a:gd name="T6" fmla="*/ 0 w 992"/>
                <a:gd name="T7" fmla="*/ 275 h 444"/>
                <a:gd name="T8" fmla="*/ 555 w 992"/>
                <a:gd name="T9" fmla="*/ 275 h 444"/>
                <a:gd name="T10" fmla="*/ 770 w 992"/>
                <a:gd name="T11" fmla="*/ 444 h 444"/>
                <a:gd name="T12" fmla="*/ 992 w 992"/>
                <a:gd name="T13" fmla="*/ 222 h 444"/>
                <a:gd name="T14" fmla="*/ 770 w 992"/>
                <a:gd name="T15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92" h="444">
                  <a:moveTo>
                    <a:pt x="770" y="0"/>
                  </a:moveTo>
                  <a:cubicBezTo>
                    <a:pt x="666" y="0"/>
                    <a:pt x="578" y="72"/>
                    <a:pt x="555" y="169"/>
                  </a:cubicBezTo>
                  <a:cubicBezTo>
                    <a:pt x="0" y="169"/>
                    <a:pt x="0" y="169"/>
                    <a:pt x="0" y="169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555" y="275"/>
                    <a:pt x="555" y="275"/>
                    <a:pt x="555" y="275"/>
                  </a:cubicBezTo>
                  <a:cubicBezTo>
                    <a:pt x="578" y="372"/>
                    <a:pt x="666" y="444"/>
                    <a:pt x="770" y="444"/>
                  </a:cubicBezTo>
                  <a:cubicBezTo>
                    <a:pt x="892" y="444"/>
                    <a:pt x="992" y="344"/>
                    <a:pt x="992" y="222"/>
                  </a:cubicBezTo>
                  <a:cubicBezTo>
                    <a:pt x="992" y="99"/>
                    <a:pt x="892" y="0"/>
                    <a:pt x="77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/>
            </a:p>
          </p:txBody>
        </p:sp>
        <p:sp>
          <p:nvSpPr>
            <p:cNvPr id="67" name="îśḻiďé"/>
            <p:cNvSpPr/>
            <p:nvPr/>
          </p:nvSpPr>
          <p:spPr bwMode="auto">
            <a:xfrm>
              <a:off x="7109163" y="1557009"/>
              <a:ext cx="846430" cy="84643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68" name="išľiďe"/>
            <p:cNvSpPr/>
            <p:nvPr/>
          </p:nvSpPr>
          <p:spPr bwMode="auto">
            <a:xfrm>
              <a:off x="7712046" y="2998796"/>
              <a:ext cx="847397" cy="84643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69" name="ïṡľíḍè"/>
            <p:cNvSpPr/>
            <p:nvPr/>
          </p:nvSpPr>
          <p:spPr bwMode="auto">
            <a:xfrm flipH="1">
              <a:off x="6894497" y="4227664"/>
              <a:ext cx="352146" cy="352146"/>
            </a:xfrm>
            <a:custGeom>
              <a:avLst/>
              <a:gdLst>
                <a:gd name="T0" fmla="*/ 797 w 884"/>
                <a:gd name="T1" fmla="*/ 87 h 886"/>
                <a:gd name="T2" fmla="*/ 483 w 884"/>
                <a:gd name="T3" fmla="*/ 87 h 886"/>
                <a:gd name="T4" fmla="*/ 450 w 884"/>
                <a:gd name="T5" fmla="*/ 358 h 886"/>
                <a:gd name="T6" fmla="*/ 0 w 884"/>
                <a:gd name="T7" fmla="*/ 811 h 886"/>
                <a:gd name="T8" fmla="*/ 75 w 884"/>
                <a:gd name="T9" fmla="*/ 886 h 886"/>
                <a:gd name="T10" fmla="*/ 525 w 884"/>
                <a:gd name="T11" fmla="*/ 434 h 886"/>
                <a:gd name="T12" fmla="*/ 797 w 884"/>
                <a:gd name="T13" fmla="*/ 401 h 886"/>
                <a:gd name="T14" fmla="*/ 797 w 884"/>
                <a:gd name="T15" fmla="*/ 8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4" h="886">
                  <a:moveTo>
                    <a:pt x="797" y="87"/>
                  </a:moveTo>
                  <a:cubicBezTo>
                    <a:pt x="710" y="0"/>
                    <a:pt x="570" y="0"/>
                    <a:pt x="483" y="87"/>
                  </a:cubicBezTo>
                  <a:cubicBezTo>
                    <a:pt x="409" y="161"/>
                    <a:pt x="399" y="273"/>
                    <a:pt x="450" y="358"/>
                  </a:cubicBezTo>
                  <a:cubicBezTo>
                    <a:pt x="0" y="811"/>
                    <a:pt x="0" y="811"/>
                    <a:pt x="0" y="811"/>
                  </a:cubicBezTo>
                  <a:cubicBezTo>
                    <a:pt x="75" y="886"/>
                    <a:pt x="75" y="886"/>
                    <a:pt x="75" y="886"/>
                  </a:cubicBezTo>
                  <a:cubicBezTo>
                    <a:pt x="525" y="434"/>
                    <a:pt x="525" y="434"/>
                    <a:pt x="525" y="434"/>
                  </a:cubicBezTo>
                  <a:cubicBezTo>
                    <a:pt x="611" y="485"/>
                    <a:pt x="723" y="475"/>
                    <a:pt x="797" y="401"/>
                  </a:cubicBezTo>
                  <a:cubicBezTo>
                    <a:pt x="884" y="314"/>
                    <a:pt x="884" y="174"/>
                    <a:pt x="797" y="8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/>
            <a:p>
              <a:endParaRPr lang="en-US"/>
            </a:p>
          </p:txBody>
        </p:sp>
        <p:sp>
          <p:nvSpPr>
            <p:cNvPr id="70" name="isḷídé"/>
            <p:cNvSpPr/>
            <p:nvPr/>
          </p:nvSpPr>
          <p:spPr bwMode="auto">
            <a:xfrm>
              <a:off x="4220680" y="4443157"/>
              <a:ext cx="846430" cy="8473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71" name="íśľîḋé"/>
            <p:cNvSpPr/>
            <p:nvPr/>
          </p:nvSpPr>
          <p:spPr bwMode="auto">
            <a:xfrm>
              <a:off x="7115280" y="4443157"/>
              <a:ext cx="846430" cy="8473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72" name="ïṡḷidè"/>
            <p:cNvSpPr/>
            <p:nvPr/>
          </p:nvSpPr>
          <p:spPr bwMode="auto">
            <a:xfrm>
              <a:off x="7963389" y="3249916"/>
              <a:ext cx="344710" cy="344189"/>
            </a:xfrm>
            <a:custGeom>
              <a:avLst/>
              <a:gdLst>
                <a:gd name="connsiteX0" fmla="*/ 106370 w 607639"/>
                <a:gd name="connsiteY0" fmla="*/ 436610 h 606722"/>
                <a:gd name="connsiteX1" fmla="*/ 61329 w 607639"/>
                <a:gd name="connsiteY1" fmla="*/ 480515 h 606722"/>
                <a:gd name="connsiteX2" fmla="*/ 126397 w 607639"/>
                <a:gd name="connsiteY2" fmla="*/ 545485 h 606722"/>
                <a:gd name="connsiteX3" fmla="*/ 170369 w 607639"/>
                <a:gd name="connsiteY3" fmla="*/ 500513 h 606722"/>
                <a:gd name="connsiteX4" fmla="*/ 455714 w 607639"/>
                <a:gd name="connsiteY4" fmla="*/ 404481 h 606722"/>
                <a:gd name="connsiteX5" fmla="*/ 531614 w 607639"/>
                <a:gd name="connsiteY5" fmla="*/ 404481 h 606722"/>
                <a:gd name="connsiteX6" fmla="*/ 531703 w 607639"/>
                <a:gd name="connsiteY6" fmla="*/ 404481 h 606722"/>
                <a:gd name="connsiteX7" fmla="*/ 531792 w 607639"/>
                <a:gd name="connsiteY7" fmla="*/ 404481 h 606722"/>
                <a:gd name="connsiteX8" fmla="*/ 548075 w 607639"/>
                <a:gd name="connsiteY8" fmla="*/ 410525 h 606722"/>
                <a:gd name="connsiteX9" fmla="*/ 551456 w 607639"/>
                <a:gd name="connsiteY9" fmla="*/ 413991 h 606722"/>
                <a:gd name="connsiteX10" fmla="*/ 556973 w 607639"/>
                <a:gd name="connsiteY10" fmla="*/ 429012 h 606722"/>
                <a:gd name="connsiteX11" fmla="*/ 556973 w 607639"/>
                <a:gd name="connsiteY11" fmla="*/ 429811 h 606722"/>
                <a:gd name="connsiteX12" fmla="*/ 556973 w 607639"/>
                <a:gd name="connsiteY12" fmla="*/ 505625 h 606722"/>
                <a:gd name="connsiteX13" fmla="*/ 531614 w 607639"/>
                <a:gd name="connsiteY13" fmla="*/ 530867 h 606722"/>
                <a:gd name="connsiteX14" fmla="*/ 506343 w 607639"/>
                <a:gd name="connsiteY14" fmla="*/ 505625 h 606722"/>
                <a:gd name="connsiteX15" fmla="*/ 476001 w 607639"/>
                <a:gd name="connsiteY15" fmla="*/ 546065 h 606722"/>
                <a:gd name="connsiteX16" fmla="*/ 455714 w 607639"/>
                <a:gd name="connsiteY16" fmla="*/ 556197 h 606722"/>
                <a:gd name="connsiteX17" fmla="*/ 440498 w 607639"/>
                <a:gd name="connsiteY17" fmla="*/ 551131 h 606722"/>
                <a:gd name="connsiteX18" fmla="*/ 435515 w 607639"/>
                <a:gd name="connsiteY18" fmla="*/ 515757 h 606722"/>
                <a:gd name="connsiteX19" fmla="*/ 481073 w 607639"/>
                <a:gd name="connsiteY19" fmla="*/ 455053 h 606722"/>
                <a:gd name="connsiteX20" fmla="*/ 455714 w 607639"/>
                <a:gd name="connsiteY20" fmla="*/ 455053 h 606722"/>
                <a:gd name="connsiteX21" fmla="*/ 430443 w 607639"/>
                <a:gd name="connsiteY21" fmla="*/ 429811 h 606722"/>
                <a:gd name="connsiteX22" fmla="*/ 455714 w 607639"/>
                <a:gd name="connsiteY22" fmla="*/ 404481 h 606722"/>
                <a:gd name="connsiteX23" fmla="*/ 157786 w 607639"/>
                <a:gd name="connsiteY23" fmla="*/ 282117 h 606722"/>
                <a:gd name="connsiteX24" fmla="*/ 175710 w 607639"/>
                <a:gd name="connsiteY24" fmla="*/ 289516 h 606722"/>
                <a:gd name="connsiteX25" fmla="*/ 317685 w 607639"/>
                <a:gd name="connsiteY25" fmla="*/ 431277 h 606722"/>
                <a:gd name="connsiteX26" fmla="*/ 317685 w 607639"/>
                <a:gd name="connsiteY26" fmla="*/ 467006 h 606722"/>
                <a:gd name="connsiteX27" fmla="*/ 245229 w 607639"/>
                <a:gd name="connsiteY27" fmla="*/ 539441 h 606722"/>
                <a:gd name="connsiteX28" fmla="*/ 227248 w 607639"/>
                <a:gd name="connsiteY28" fmla="*/ 546818 h 606722"/>
                <a:gd name="connsiteX29" fmla="*/ 209357 w 607639"/>
                <a:gd name="connsiteY29" fmla="*/ 539441 h 606722"/>
                <a:gd name="connsiteX30" fmla="*/ 206241 w 607639"/>
                <a:gd name="connsiteY30" fmla="*/ 536242 h 606722"/>
                <a:gd name="connsiteX31" fmla="*/ 144734 w 607639"/>
                <a:gd name="connsiteY31" fmla="*/ 599079 h 606722"/>
                <a:gd name="connsiteX32" fmla="*/ 126753 w 607639"/>
                <a:gd name="connsiteY32" fmla="*/ 606722 h 606722"/>
                <a:gd name="connsiteX33" fmla="*/ 126575 w 607639"/>
                <a:gd name="connsiteY33" fmla="*/ 606722 h 606722"/>
                <a:gd name="connsiteX34" fmla="*/ 108684 w 607639"/>
                <a:gd name="connsiteY34" fmla="*/ 599256 h 606722"/>
                <a:gd name="connsiteX35" fmla="*/ 7388 w 607639"/>
                <a:gd name="connsiteY35" fmla="*/ 498113 h 606722"/>
                <a:gd name="connsiteX36" fmla="*/ 0 w 607639"/>
                <a:gd name="connsiteY36" fmla="*/ 480160 h 606722"/>
                <a:gd name="connsiteX37" fmla="*/ 7655 w 607639"/>
                <a:gd name="connsiteY37" fmla="*/ 462206 h 606722"/>
                <a:gd name="connsiteX38" fmla="*/ 70587 w 607639"/>
                <a:gd name="connsiteY38" fmla="*/ 400792 h 606722"/>
                <a:gd name="connsiteX39" fmla="*/ 67382 w 607639"/>
                <a:gd name="connsiteY39" fmla="*/ 397681 h 606722"/>
                <a:gd name="connsiteX40" fmla="*/ 59994 w 607639"/>
                <a:gd name="connsiteY40" fmla="*/ 379728 h 606722"/>
                <a:gd name="connsiteX41" fmla="*/ 67382 w 607639"/>
                <a:gd name="connsiteY41" fmla="*/ 361863 h 606722"/>
                <a:gd name="connsiteX42" fmla="*/ 139927 w 607639"/>
                <a:gd name="connsiteY42" fmla="*/ 289516 h 606722"/>
                <a:gd name="connsiteX43" fmla="*/ 157786 w 607639"/>
                <a:gd name="connsiteY43" fmla="*/ 282117 h 606722"/>
                <a:gd name="connsiteX44" fmla="*/ 363724 w 607639"/>
                <a:gd name="connsiteY44" fmla="*/ 101159 h 606722"/>
                <a:gd name="connsiteX45" fmla="*/ 353254 w 607639"/>
                <a:gd name="connsiteY45" fmla="*/ 105492 h 606722"/>
                <a:gd name="connsiteX46" fmla="*/ 320945 w 607639"/>
                <a:gd name="connsiteY46" fmla="*/ 137752 h 606722"/>
                <a:gd name="connsiteX47" fmla="*/ 323793 w 607639"/>
                <a:gd name="connsiteY47" fmla="*/ 139974 h 606722"/>
                <a:gd name="connsiteX48" fmla="*/ 335898 w 607639"/>
                <a:gd name="connsiteY48" fmla="*/ 148417 h 606722"/>
                <a:gd name="connsiteX49" fmla="*/ 341149 w 607639"/>
                <a:gd name="connsiteY49" fmla="*/ 151794 h 606722"/>
                <a:gd name="connsiteX50" fmla="*/ 359930 w 607639"/>
                <a:gd name="connsiteY50" fmla="*/ 162459 h 606722"/>
                <a:gd name="connsiteX51" fmla="*/ 408439 w 607639"/>
                <a:gd name="connsiteY51" fmla="*/ 198897 h 606722"/>
                <a:gd name="connsiteX52" fmla="*/ 444933 w 607639"/>
                <a:gd name="connsiteY52" fmla="*/ 247243 h 606722"/>
                <a:gd name="connsiteX53" fmla="*/ 455614 w 607639"/>
                <a:gd name="connsiteY53" fmla="*/ 266084 h 606722"/>
                <a:gd name="connsiteX54" fmla="*/ 458907 w 607639"/>
                <a:gd name="connsiteY54" fmla="*/ 271239 h 606722"/>
                <a:gd name="connsiteX55" fmla="*/ 467452 w 607639"/>
                <a:gd name="connsiteY55" fmla="*/ 283326 h 606722"/>
                <a:gd name="connsiteX56" fmla="*/ 469677 w 607639"/>
                <a:gd name="connsiteY56" fmla="*/ 286258 h 606722"/>
                <a:gd name="connsiteX57" fmla="*/ 501987 w 607639"/>
                <a:gd name="connsiteY57" fmla="*/ 253998 h 606722"/>
                <a:gd name="connsiteX58" fmla="*/ 501987 w 607639"/>
                <a:gd name="connsiteY58" fmla="*/ 233024 h 606722"/>
                <a:gd name="connsiteX59" fmla="*/ 374260 w 607639"/>
                <a:gd name="connsiteY59" fmla="*/ 105492 h 606722"/>
                <a:gd name="connsiteX60" fmla="*/ 363724 w 607639"/>
                <a:gd name="connsiteY60" fmla="*/ 101159 h 606722"/>
                <a:gd name="connsiteX61" fmla="*/ 177209 w 607639"/>
                <a:gd name="connsiteY61" fmla="*/ 50521 h 606722"/>
                <a:gd name="connsiteX62" fmla="*/ 195096 w 607639"/>
                <a:gd name="connsiteY62" fmla="*/ 57919 h 606722"/>
                <a:gd name="connsiteX63" fmla="*/ 195096 w 607639"/>
                <a:gd name="connsiteY63" fmla="*/ 93644 h 606722"/>
                <a:gd name="connsiteX64" fmla="*/ 137075 w 607639"/>
                <a:gd name="connsiteY64" fmla="*/ 151675 h 606722"/>
                <a:gd name="connsiteX65" fmla="*/ 151936 w 607639"/>
                <a:gd name="connsiteY65" fmla="*/ 151675 h 606722"/>
                <a:gd name="connsiteX66" fmla="*/ 177209 w 607639"/>
                <a:gd name="connsiteY66" fmla="*/ 176914 h 606722"/>
                <a:gd name="connsiteX67" fmla="*/ 151936 w 607639"/>
                <a:gd name="connsiteY67" fmla="*/ 202241 h 606722"/>
                <a:gd name="connsiteX68" fmla="*/ 75939 w 607639"/>
                <a:gd name="connsiteY68" fmla="*/ 202241 h 606722"/>
                <a:gd name="connsiteX69" fmla="*/ 59387 w 607639"/>
                <a:gd name="connsiteY69" fmla="*/ 196020 h 606722"/>
                <a:gd name="connsiteX70" fmla="*/ 55916 w 607639"/>
                <a:gd name="connsiteY70" fmla="*/ 192288 h 606722"/>
                <a:gd name="connsiteX71" fmla="*/ 50755 w 607639"/>
                <a:gd name="connsiteY71" fmla="*/ 178691 h 606722"/>
                <a:gd name="connsiteX72" fmla="*/ 50666 w 607639"/>
                <a:gd name="connsiteY72" fmla="*/ 176736 h 606722"/>
                <a:gd name="connsiteX73" fmla="*/ 50666 w 607639"/>
                <a:gd name="connsiteY73" fmla="*/ 101109 h 606722"/>
                <a:gd name="connsiteX74" fmla="*/ 75939 w 607639"/>
                <a:gd name="connsiteY74" fmla="*/ 75782 h 606722"/>
                <a:gd name="connsiteX75" fmla="*/ 101301 w 607639"/>
                <a:gd name="connsiteY75" fmla="*/ 101109 h 606722"/>
                <a:gd name="connsiteX76" fmla="*/ 101301 w 607639"/>
                <a:gd name="connsiteY76" fmla="*/ 115861 h 606722"/>
                <a:gd name="connsiteX77" fmla="*/ 159322 w 607639"/>
                <a:gd name="connsiteY77" fmla="*/ 57919 h 606722"/>
                <a:gd name="connsiteX78" fmla="*/ 177209 w 607639"/>
                <a:gd name="connsiteY78" fmla="*/ 50521 h 606722"/>
                <a:gd name="connsiteX79" fmla="*/ 480892 w 607639"/>
                <a:gd name="connsiteY79" fmla="*/ 0 h 606722"/>
                <a:gd name="connsiteX80" fmla="*/ 498960 w 607639"/>
                <a:gd name="connsiteY80" fmla="*/ 7376 h 606722"/>
                <a:gd name="connsiteX81" fmla="*/ 600162 w 607639"/>
                <a:gd name="connsiteY81" fmla="*/ 108513 h 606722"/>
                <a:gd name="connsiteX82" fmla="*/ 607639 w 607639"/>
                <a:gd name="connsiteY82" fmla="*/ 126554 h 606722"/>
                <a:gd name="connsiteX83" fmla="*/ 599984 w 607639"/>
                <a:gd name="connsiteY83" fmla="*/ 144507 h 606722"/>
                <a:gd name="connsiteX84" fmla="*/ 541417 w 607639"/>
                <a:gd name="connsiteY84" fmla="*/ 201741 h 606722"/>
                <a:gd name="connsiteX85" fmla="*/ 537768 w 607639"/>
                <a:gd name="connsiteY85" fmla="*/ 289724 h 606722"/>
                <a:gd name="connsiteX86" fmla="*/ 486499 w 607639"/>
                <a:gd name="connsiteY86" fmla="*/ 340915 h 606722"/>
                <a:gd name="connsiteX87" fmla="*/ 484719 w 607639"/>
                <a:gd name="connsiteY87" fmla="*/ 342159 h 606722"/>
                <a:gd name="connsiteX88" fmla="*/ 480002 w 607639"/>
                <a:gd name="connsiteY88" fmla="*/ 345270 h 606722"/>
                <a:gd name="connsiteX89" fmla="*/ 476530 w 607639"/>
                <a:gd name="connsiteY89" fmla="*/ 346869 h 606722"/>
                <a:gd name="connsiteX90" fmla="*/ 471190 w 607639"/>
                <a:gd name="connsiteY90" fmla="*/ 347847 h 606722"/>
                <a:gd name="connsiteX91" fmla="*/ 468609 w 607639"/>
                <a:gd name="connsiteY91" fmla="*/ 348380 h 606722"/>
                <a:gd name="connsiteX92" fmla="*/ 467452 w 607639"/>
                <a:gd name="connsiteY92" fmla="*/ 348114 h 606722"/>
                <a:gd name="connsiteX93" fmla="*/ 462111 w 607639"/>
                <a:gd name="connsiteY93" fmla="*/ 347047 h 606722"/>
                <a:gd name="connsiteX94" fmla="*/ 458373 w 607639"/>
                <a:gd name="connsiteY94" fmla="*/ 345981 h 606722"/>
                <a:gd name="connsiteX95" fmla="*/ 457305 w 607639"/>
                <a:gd name="connsiteY95" fmla="*/ 345714 h 606722"/>
                <a:gd name="connsiteX96" fmla="*/ 428911 w 607639"/>
                <a:gd name="connsiteY96" fmla="*/ 331494 h 606722"/>
                <a:gd name="connsiteX97" fmla="*/ 407282 w 607639"/>
                <a:gd name="connsiteY97" fmla="*/ 335049 h 606722"/>
                <a:gd name="connsiteX98" fmla="*/ 376308 w 607639"/>
                <a:gd name="connsiteY98" fmla="*/ 365888 h 606722"/>
                <a:gd name="connsiteX99" fmla="*/ 344265 w 607639"/>
                <a:gd name="connsiteY99" fmla="*/ 379219 h 606722"/>
                <a:gd name="connsiteX100" fmla="*/ 312133 w 607639"/>
                <a:gd name="connsiteY100" fmla="*/ 365888 h 606722"/>
                <a:gd name="connsiteX101" fmla="*/ 241194 w 607639"/>
                <a:gd name="connsiteY101" fmla="*/ 295057 h 606722"/>
                <a:gd name="connsiteX102" fmla="*/ 241194 w 607639"/>
                <a:gd name="connsiteY102" fmla="*/ 230891 h 606722"/>
                <a:gd name="connsiteX103" fmla="*/ 272079 w 607639"/>
                <a:gd name="connsiteY103" fmla="*/ 200052 h 606722"/>
                <a:gd name="connsiteX104" fmla="*/ 275551 w 607639"/>
                <a:gd name="connsiteY104" fmla="*/ 178456 h 606722"/>
                <a:gd name="connsiteX105" fmla="*/ 261398 w 607639"/>
                <a:gd name="connsiteY105" fmla="*/ 150106 h 606722"/>
                <a:gd name="connsiteX106" fmla="*/ 261131 w 607639"/>
                <a:gd name="connsiteY106" fmla="*/ 149039 h 606722"/>
                <a:gd name="connsiteX107" fmla="*/ 260063 w 607639"/>
                <a:gd name="connsiteY107" fmla="*/ 145307 h 606722"/>
                <a:gd name="connsiteX108" fmla="*/ 258995 w 607639"/>
                <a:gd name="connsiteY108" fmla="*/ 139974 h 606722"/>
                <a:gd name="connsiteX109" fmla="*/ 259262 w 607639"/>
                <a:gd name="connsiteY109" fmla="*/ 136242 h 606722"/>
                <a:gd name="connsiteX110" fmla="*/ 260241 w 607639"/>
                <a:gd name="connsiteY110" fmla="*/ 130909 h 606722"/>
                <a:gd name="connsiteX111" fmla="*/ 261754 w 607639"/>
                <a:gd name="connsiteY111" fmla="*/ 127443 h 606722"/>
                <a:gd name="connsiteX112" fmla="*/ 264959 w 607639"/>
                <a:gd name="connsiteY112" fmla="*/ 122733 h 606722"/>
                <a:gd name="connsiteX113" fmla="*/ 266116 w 607639"/>
                <a:gd name="connsiteY113" fmla="*/ 120955 h 606722"/>
                <a:gd name="connsiteX114" fmla="*/ 317384 w 607639"/>
                <a:gd name="connsiteY114" fmla="*/ 69676 h 606722"/>
                <a:gd name="connsiteX115" fmla="*/ 405591 w 607639"/>
                <a:gd name="connsiteY115" fmla="*/ 66121 h 606722"/>
                <a:gd name="connsiteX116" fmla="*/ 462912 w 607639"/>
                <a:gd name="connsiteY116" fmla="*/ 7554 h 606722"/>
                <a:gd name="connsiteX117" fmla="*/ 480892 w 607639"/>
                <a:gd name="connsiteY117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607639" h="606722">
                  <a:moveTo>
                    <a:pt x="106370" y="436610"/>
                  </a:moveTo>
                  <a:lnTo>
                    <a:pt x="61329" y="480515"/>
                  </a:lnTo>
                  <a:lnTo>
                    <a:pt x="126397" y="545485"/>
                  </a:lnTo>
                  <a:lnTo>
                    <a:pt x="170369" y="500513"/>
                  </a:lnTo>
                  <a:close/>
                  <a:moveTo>
                    <a:pt x="455714" y="404481"/>
                  </a:moveTo>
                  <a:lnTo>
                    <a:pt x="531614" y="404481"/>
                  </a:lnTo>
                  <a:lnTo>
                    <a:pt x="531703" y="404481"/>
                  </a:lnTo>
                  <a:lnTo>
                    <a:pt x="531792" y="404481"/>
                  </a:lnTo>
                  <a:cubicBezTo>
                    <a:pt x="538020" y="404481"/>
                    <a:pt x="543715" y="406792"/>
                    <a:pt x="548075" y="410525"/>
                  </a:cubicBezTo>
                  <a:cubicBezTo>
                    <a:pt x="549321" y="411591"/>
                    <a:pt x="550388" y="412747"/>
                    <a:pt x="551456" y="413991"/>
                  </a:cubicBezTo>
                  <a:cubicBezTo>
                    <a:pt x="554748" y="418079"/>
                    <a:pt x="556795" y="423323"/>
                    <a:pt x="556973" y="429012"/>
                  </a:cubicBezTo>
                  <a:cubicBezTo>
                    <a:pt x="556973" y="429278"/>
                    <a:pt x="556973" y="429545"/>
                    <a:pt x="556973" y="429811"/>
                  </a:cubicBezTo>
                  <a:lnTo>
                    <a:pt x="556973" y="505625"/>
                  </a:lnTo>
                  <a:cubicBezTo>
                    <a:pt x="556973" y="519579"/>
                    <a:pt x="545673" y="530867"/>
                    <a:pt x="531614" y="530867"/>
                  </a:cubicBezTo>
                  <a:cubicBezTo>
                    <a:pt x="517644" y="530867"/>
                    <a:pt x="506343" y="519579"/>
                    <a:pt x="506343" y="505625"/>
                  </a:cubicBezTo>
                  <a:lnTo>
                    <a:pt x="476001" y="546065"/>
                  </a:lnTo>
                  <a:cubicBezTo>
                    <a:pt x="471018" y="552731"/>
                    <a:pt x="463366" y="556197"/>
                    <a:pt x="455714" y="556197"/>
                  </a:cubicBezTo>
                  <a:cubicBezTo>
                    <a:pt x="450375" y="556197"/>
                    <a:pt x="445125" y="554508"/>
                    <a:pt x="440498" y="551131"/>
                  </a:cubicBezTo>
                  <a:cubicBezTo>
                    <a:pt x="429375" y="542776"/>
                    <a:pt x="427062" y="526867"/>
                    <a:pt x="435515" y="515757"/>
                  </a:cubicBezTo>
                  <a:lnTo>
                    <a:pt x="481073" y="455053"/>
                  </a:lnTo>
                  <a:lnTo>
                    <a:pt x="455714" y="455053"/>
                  </a:lnTo>
                  <a:cubicBezTo>
                    <a:pt x="441744" y="455053"/>
                    <a:pt x="430443" y="443765"/>
                    <a:pt x="430443" y="429811"/>
                  </a:cubicBezTo>
                  <a:cubicBezTo>
                    <a:pt x="430443" y="415857"/>
                    <a:pt x="441744" y="404481"/>
                    <a:pt x="455714" y="404481"/>
                  </a:cubicBezTo>
                  <a:close/>
                  <a:moveTo>
                    <a:pt x="157786" y="282117"/>
                  </a:moveTo>
                  <a:cubicBezTo>
                    <a:pt x="164272" y="282117"/>
                    <a:pt x="170770" y="284584"/>
                    <a:pt x="175710" y="289516"/>
                  </a:cubicBezTo>
                  <a:lnTo>
                    <a:pt x="317685" y="431277"/>
                  </a:lnTo>
                  <a:cubicBezTo>
                    <a:pt x="327565" y="441142"/>
                    <a:pt x="327565" y="457140"/>
                    <a:pt x="317685" y="467006"/>
                  </a:cubicBezTo>
                  <a:lnTo>
                    <a:pt x="245229" y="539441"/>
                  </a:lnTo>
                  <a:cubicBezTo>
                    <a:pt x="240422" y="544152"/>
                    <a:pt x="234013" y="546818"/>
                    <a:pt x="227248" y="546818"/>
                  </a:cubicBezTo>
                  <a:cubicBezTo>
                    <a:pt x="220572" y="546818"/>
                    <a:pt x="214163" y="544152"/>
                    <a:pt x="209357" y="539441"/>
                  </a:cubicBezTo>
                  <a:lnTo>
                    <a:pt x="206241" y="536242"/>
                  </a:lnTo>
                  <a:lnTo>
                    <a:pt x="144734" y="599079"/>
                  </a:lnTo>
                  <a:cubicBezTo>
                    <a:pt x="140016" y="603967"/>
                    <a:pt x="133518" y="606633"/>
                    <a:pt x="126753" y="606722"/>
                  </a:cubicBezTo>
                  <a:lnTo>
                    <a:pt x="126575" y="606722"/>
                  </a:lnTo>
                  <a:cubicBezTo>
                    <a:pt x="119899" y="606722"/>
                    <a:pt x="113491" y="604056"/>
                    <a:pt x="108684" y="599256"/>
                  </a:cubicBezTo>
                  <a:lnTo>
                    <a:pt x="7388" y="498113"/>
                  </a:lnTo>
                  <a:cubicBezTo>
                    <a:pt x="2670" y="493403"/>
                    <a:pt x="0" y="486914"/>
                    <a:pt x="0" y="480160"/>
                  </a:cubicBezTo>
                  <a:cubicBezTo>
                    <a:pt x="89" y="473405"/>
                    <a:pt x="2759" y="466917"/>
                    <a:pt x="7655" y="462206"/>
                  </a:cubicBezTo>
                  <a:lnTo>
                    <a:pt x="70587" y="400792"/>
                  </a:lnTo>
                  <a:lnTo>
                    <a:pt x="67382" y="397681"/>
                  </a:lnTo>
                  <a:cubicBezTo>
                    <a:pt x="62665" y="392882"/>
                    <a:pt x="59994" y="386482"/>
                    <a:pt x="59994" y="379728"/>
                  </a:cubicBezTo>
                  <a:cubicBezTo>
                    <a:pt x="59994" y="373062"/>
                    <a:pt x="62665" y="366663"/>
                    <a:pt x="67382" y="361863"/>
                  </a:cubicBezTo>
                  <a:lnTo>
                    <a:pt x="139927" y="289516"/>
                  </a:lnTo>
                  <a:cubicBezTo>
                    <a:pt x="144823" y="284584"/>
                    <a:pt x="151299" y="282117"/>
                    <a:pt x="157786" y="282117"/>
                  </a:cubicBezTo>
                  <a:close/>
                  <a:moveTo>
                    <a:pt x="363724" y="101159"/>
                  </a:moveTo>
                  <a:cubicBezTo>
                    <a:pt x="359930" y="101159"/>
                    <a:pt x="356147" y="102604"/>
                    <a:pt x="353254" y="105492"/>
                  </a:cubicBezTo>
                  <a:lnTo>
                    <a:pt x="320945" y="137752"/>
                  </a:lnTo>
                  <a:cubicBezTo>
                    <a:pt x="321835" y="138463"/>
                    <a:pt x="322814" y="139174"/>
                    <a:pt x="323793" y="139974"/>
                  </a:cubicBezTo>
                  <a:cubicBezTo>
                    <a:pt x="327709" y="142818"/>
                    <a:pt x="331715" y="145662"/>
                    <a:pt x="335898" y="148417"/>
                  </a:cubicBezTo>
                  <a:cubicBezTo>
                    <a:pt x="337678" y="149572"/>
                    <a:pt x="339369" y="150728"/>
                    <a:pt x="341149" y="151794"/>
                  </a:cubicBezTo>
                  <a:cubicBezTo>
                    <a:pt x="347113" y="155527"/>
                    <a:pt x="353254" y="159082"/>
                    <a:pt x="359930" y="162459"/>
                  </a:cubicBezTo>
                  <a:cubicBezTo>
                    <a:pt x="376040" y="170724"/>
                    <a:pt x="392863" y="183344"/>
                    <a:pt x="408439" y="198897"/>
                  </a:cubicBezTo>
                  <a:cubicBezTo>
                    <a:pt x="424016" y="214449"/>
                    <a:pt x="436655" y="231246"/>
                    <a:pt x="444933" y="247243"/>
                  </a:cubicBezTo>
                  <a:cubicBezTo>
                    <a:pt x="448315" y="253998"/>
                    <a:pt x="451875" y="260130"/>
                    <a:pt x="455614" y="266084"/>
                  </a:cubicBezTo>
                  <a:cubicBezTo>
                    <a:pt x="456682" y="267862"/>
                    <a:pt x="457839" y="269550"/>
                    <a:pt x="458907" y="271239"/>
                  </a:cubicBezTo>
                  <a:cubicBezTo>
                    <a:pt x="461666" y="275416"/>
                    <a:pt x="464514" y="279504"/>
                    <a:pt x="467452" y="283326"/>
                  </a:cubicBezTo>
                  <a:cubicBezTo>
                    <a:pt x="468164" y="284303"/>
                    <a:pt x="468876" y="285281"/>
                    <a:pt x="469677" y="286258"/>
                  </a:cubicBezTo>
                  <a:lnTo>
                    <a:pt x="501987" y="253998"/>
                  </a:lnTo>
                  <a:cubicBezTo>
                    <a:pt x="507772" y="248221"/>
                    <a:pt x="507772" y="238800"/>
                    <a:pt x="501987" y="233024"/>
                  </a:cubicBezTo>
                  <a:lnTo>
                    <a:pt x="374260" y="105492"/>
                  </a:lnTo>
                  <a:cubicBezTo>
                    <a:pt x="371323" y="102604"/>
                    <a:pt x="367518" y="101159"/>
                    <a:pt x="363724" y="101159"/>
                  </a:cubicBezTo>
                  <a:close/>
                  <a:moveTo>
                    <a:pt x="177209" y="50521"/>
                  </a:moveTo>
                  <a:cubicBezTo>
                    <a:pt x="183683" y="50521"/>
                    <a:pt x="190157" y="52987"/>
                    <a:pt x="195096" y="57919"/>
                  </a:cubicBezTo>
                  <a:cubicBezTo>
                    <a:pt x="205063" y="67784"/>
                    <a:pt x="205063" y="83869"/>
                    <a:pt x="195096" y="93644"/>
                  </a:cubicBezTo>
                  <a:lnTo>
                    <a:pt x="137075" y="151675"/>
                  </a:lnTo>
                  <a:lnTo>
                    <a:pt x="151936" y="151675"/>
                  </a:lnTo>
                  <a:cubicBezTo>
                    <a:pt x="165908" y="151675"/>
                    <a:pt x="177209" y="162961"/>
                    <a:pt x="177209" y="176914"/>
                  </a:cubicBezTo>
                  <a:cubicBezTo>
                    <a:pt x="177209" y="190866"/>
                    <a:pt x="165908" y="202241"/>
                    <a:pt x="151936" y="202241"/>
                  </a:cubicBezTo>
                  <a:lnTo>
                    <a:pt x="75939" y="202241"/>
                  </a:lnTo>
                  <a:cubicBezTo>
                    <a:pt x="69621" y="202241"/>
                    <a:pt x="63836" y="199842"/>
                    <a:pt x="59387" y="196020"/>
                  </a:cubicBezTo>
                  <a:cubicBezTo>
                    <a:pt x="58141" y="194954"/>
                    <a:pt x="56984" y="193710"/>
                    <a:pt x="55916" y="192288"/>
                  </a:cubicBezTo>
                  <a:cubicBezTo>
                    <a:pt x="52980" y="188466"/>
                    <a:pt x="51111" y="183845"/>
                    <a:pt x="50755" y="178691"/>
                  </a:cubicBezTo>
                  <a:cubicBezTo>
                    <a:pt x="50666" y="178069"/>
                    <a:pt x="50666" y="177447"/>
                    <a:pt x="50666" y="176736"/>
                  </a:cubicBezTo>
                  <a:lnTo>
                    <a:pt x="50666" y="101109"/>
                  </a:lnTo>
                  <a:cubicBezTo>
                    <a:pt x="50666" y="87157"/>
                    <a:pt x="61968" y="75782"/>
                    <a:pt x="75939" y="75782"/>
                  </a:cubicBezTo>
                  <a:cubicBezTo>
                    <a:pt x="89910" y="75782"/>
                    <a:pt x="101301" y="87157"/>
                    <a:pt x="101301" y="101109"/>
                  </a:cubicBezTo>
                  <a:lnTo>
                    <a:pt x="101301" y="115861"/>
                  </a:lnTo>
                  <a:lnTo>
                    <a:pt x="159322" y="57919"/>
                  </a:lnTo>
                  <a:cubicBezTo>
                    <a:pt x="164261" y="52987"/>
                    <a:pt x="170735" y="50521"/>
                    <a:pt x="177209" y="50521"/>
                  </a:cubicBezTo>
                  <a:close/>
                  <a:moveTo>
                    <a:pt x="480892" y="0"/>
                  </a:moveTo>
                  <a:cubicBezTo>
                    <a:pt x="487122" y="0"/>
                    <a:pt x="494154" y="2666"/>
                    <a:pt x="498960" y="7376"/>
                  </a:cubicBezTo>
                  <a:lnTo>
                    <a:pt x="600162" y="108513"/>
                  </a:lnTo>
                  <a:cubicBezTo>
                    <a:pt x="604969" y="113312"/>
                    <a:pt x="607639" y="119800"/>
                    <a:pt x="607639" y="126554"/>
                  </a:cubicBezTo>
                  <a:cubicBezTo>
                    <a:pt x="607550" y="133309"/>
                    <a:pt x="604880" y="139708"/>
                    <a:pt x="599984" y="144507"/>
                  </a:cubicBezTo>
                  <a:lnTo>
                    <a:pt x="541417" y="201741"/>
                  </a:lnTo>
                  <a:cubicBezTo>
                    <a:pt x="562957" y="227425"/>
                    <a:pt x="561978" y="265640"/>
                    <a:pt x="537768" y="289724"/>
                  </a:cubicBezTo>
                  <a:lnTo>
                    <a:pt x="486499" y="340915"/>
                  </a:lnTo>
                  <a:cubicBezTo>
                    <a:pt x="485965" y="341537"/>
                    <a:pt x="485342" y="341715"/>
                    <a:pt x="484719" y="342159"/>
                  </a:cubicBezTo>
                  <a:cubicBezTo>
                    <a:pt x="483206" y="343403"/>
                    <a:pt x="481693" y="344470"/>
                    <a:pt x="480002" y="345270"/>
                  </a:cubicBezTo>
                  <a:cubicBezTo>
                    <a:pt x="478845" y="345892"/>
                    <a:pt x="477688" y="346425"/>
                    <a:pt x="476530" y="346869"/>
                  </a:cubicBezTo>
                  <a:cubicBezTo>
                    <a:pt x="474750" y="347403"/>
                    <a:pt x="472970" y="347669"/>
                    <a:pt x="471190" y="347847"/>
                  </a:cubicBezTo>
                  <a:cubicBezTo>
                    <a:pt x="470300" y="347936"/>
                    <a:pt x="469499" y="348380"/>
                    <a:pt x="468609" y="348380"/>
                  </a:cubicBezTo>
                  <a:cubicBezTo>
                    <a:pt x="468253" y="348380"/>
                    <a:pt x="467808" y="348114"/>
                    <a:pt x="467452" y="348114"/>
                  </a:cubicBezTo>
                  <a:cubicBezTo>
                    <a:pt x="465582" y="348025"/>
                    <a:pt x="463891" y="347580"/>
                    <a:pt x="462111" y="347047"/>
                  </a:cubicBezTo>
                  <a:cubicBezTo>
                    <a:pt x="460776" y="346692"/>
                    <a:pt x="459530" y="346514"/>
                    <a:pt x="458373" y="345981"/>
                  </a:cubicBezTo>
                  <a:cubicBezTo>
                    <a:pt x="458017" y="345892"/>
                    <a:pt x="457661" y="345892"/>
                    <a:pt x="457305" y="345714"/>
                  </a:cubicBezTo>
                  <a:lnTo>
                    <a:pt x="428911" y="331494"/>
                  </a:lnTo>
                  <a:cubicBezTo>
                    <a:pt x="421702" y="327940"/>
                    <a:pt x="412979" y="329273"/>
                    <a:pt x="407282" y="335049"/>
                  </a:cubicBezTo>
                  <a:lnTo>
                    <a:pt x="376308" y="365888"/>
                  </a:lnTo>
                  <a:cubicBezTo>
                    <a:pt x="367763" y="374509"/>
                    <a:pt x="356370" y="379219"/>
                    <a:pt x="344265" y="379219"/>
                  </a:cubicBezTo>
                  <a:cubicBezTo>
                    <a:pt x="332160" y="379219"/>
                    <a:pt x="320678" y="374509"/>
                    <a:pt x="312133" y="365888"/>
                  </a:cubicBezTo>
                  <a:lnTo>
                    <a:pt x="241194" y="295057"/>
                  </a:lnTo>
                  <a:cubicBezTo>
                    <a:pt x="223481" y="277371"/>
                    <a:pt x="223481" y="248576"/>
                    <a:pt x="241194" y="230891"/>
                  </a:cubicBezTo>
                  <a:lnTo>
                    <a:pt x="272079" y="200052"/>
                  </a:lnTo>
                  <a:cubicBezTo>
                    <a:pt x="277776" y="194364"/>
                    <a:pt x="279200" y="185655"/>
                    <a:pt x="275551" y="178456"/>
                  </a:cubicBezTo>
                  <a:lnTo>
                    <a:pt x="261398" y="150106"/>
                  </a:lnTo>
                  <a:cubicBezTo>
                    <a:pt x="261220" y="149750"/>
                    <a:pt x="261220" y="149395"/>
                    <a:pt x="261131" y="149039"/>
                  </a:cubicBezTo>
                  <a:cubicBezTo>
                    <a:pt x="260508" y="147884"/>
                    <a:pt x="260330" y="146640"/>
                    <a:pt x="260063" y="145307"/>
                  </a:cubicBezTo>
                  <a:cubicBezTo>
                    <a:pt x="259529" y="143529"/>
                    <a:pt x="259084" y="141841"/>
                    <a:pt x="258995" y="139974"/>
                  </a:cubicBezTo>
                  <a:cubicBezTo>
                    <a:pt x="258906" y="138730"/>
                    <a:pt x="259084" y="137486"/>
                    <a:pt x="259262" y="136242"/>
                  </a:cubicBezTo>
                  <a:cubicBezTo>
                    <a:pt x="259440" y="134375"/>
                    <a:pt x="259707" y="132687"/>
                    <a:pt x="260241" y="130909"/>
                  </a:cubicBezTo>
                  <a:cubicBezTo>
                    <a:pt x="260686" y="129754"/>
                    <a:pt x="261220" y="128599"/>
                    <a:pt x="261754" y="127443"/>
                  </a:cubicBezTo>
                  <a:cubicBezTo>
                    <a:pt x="262644" y="125755"/>
                    <a:pt x="263713" y="124155"/>
                    <a:pt x="264959" y="122733"/>
                  </a:cubicBezTo>
                  <a:cubicBezTo>
                    <a:pt x="265404" y="122111"/>
                    <a:pt x="265582" y="121400"/>
                    <a:pt x="266116" y="120955"/>
                  </a:cubicBezTo>
                  <a:lnTo>
                    <a:pt x="317384" y="69676"/>
                  </a:lnTo>
                  <a:cubicBezTo>
                    <a:pt x="341505" y="45592"/>
                    <a:pt x="379868" y="44525"/>
                    <a:pt x="405591" y="66121"/>
                  </a:cubicBezTo>
                  <a:lnTo>
                    <a:pt x="462912" y="7554"/>
                  </a:lnTo>
                  <a:cubicBezTo>
                    <a:pt x="467719" y="2755"/>
                    <a:pt x="474127" y="89"/>
                    <a:pt x="48089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73" name="iṡļîḍé"/>
            <p:cNvSpPr/>
            <p:nvPr/>
          </p:nvSpPr>
          <p:spPr bwMode="auto">
            <a:xfrm>
              <a:off x="7366140" y="4694761"/>
              <a:ext cx="344710" cy="344189"/>
            </a:xfrm>
            <a:custGeom>
              <a:avLst/>
              <a:gdLst>
                <a:gd name="connsiteX0" fmla="*/ 257564 w 607639"/>
                <a:gd name="connsiteY0" fmla="*/ 92370 h 606722"/>
                <a:gd name="connsiteX1" fmla="*/ 277411 w 607639"/>
                <a:gd name="connsiteY1" fmla="*/ 112098 h 606722"/>
                <a:gd name="connsiteX2" fmla="*/ 277411 w 607639"/>
                <a:gd name="connsiteY2" fmla="*/ 329729 h 606722"/>
                <a:gd name="connsiteX3" fmla="*/ 495281 w 607639"/>
                <a:gd name="connsiteY3" fmla="*/ 329729 h 606722"/>
                <a:gd name="connsiteX4" fmla="*/ 515128 w 607639"/>
                <a:gd name="connsiteY4" fmla="*/ 349546 h 606722"/>
                <a:gd name="connsiteX5" fmla="*/ 257564 w 607639"/>
                <a:gd name="connsiteY5" fmla="*/ 606722 h 606722"/>
                <a:gd name="connsiteX6" fmla="*/ 0 w 607639"/>
                <a:gd name="connsiteY6" fmla="*/ 349546 h 606722"/>
                <a:gd name="connsiteX7" fmla="*/ 257564 w 607639"/>
                <a:gd name="connsiteY7" fmla="*/ 92370 h 606722"/>
                <a:gd name="connsiteX8" fmla="*/ 350027 w 607639"/>
                <a:gd name="connsiteY8" fmla="*/ 0 h 606722"/>
                <a:gd name="connsiteX9" fmla="*/ 607639 w 607639"/>
                <a:gd name="connsiteY9" fmla="*/ 257220 h 606722"/>
                <a:gd name="connsiteX10" fmla="*/ 587788 w 607639"/>
                <a:gd name="connsiteY10" fmla="*/ 277040 h 606722"/>
                <a:gd name="connsiteX11" fmla="*/ 350027 w 607639"/>
                <a:gd name="connsiteY11" fmla="*/ 277040 h 606722"/>
                <a:gd name="connsiteX12" fmla="*/ 330176 w 607639"/>
                <a:gd name="connsiteY12" fmla="*/ 257220 h 606722"/>
                <a:gd name="connsiteX13" fmla="*/ 330176 w 607639"/>
                <a:gd name="connsiteY13" fmla="*/ 19820 h 606722"/>
                <a:gd name="connsiteX14" fmla="*/ 350027 w 607639"/>
                <a:gd name="connsiteY14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07639" h="606722">
                  <a:moveTo>
                    <a:pt x="257564" y="92370"/>
                  </a:moveTo>
                  <a:cubicBezTo>
                    <a:pt x="268511" y="92370"/>
                    <a:pt x="277411" y="101168"/>
                    <a:pt x="277411" y="112098"/>
                  </a:cubicBezTo>
                  <a:lnTo>
                    <a:pt x="277411" y="329729"/>
                  </a:lnTo>
                  <a:lnTo>
                    <a:pt x="495281" y="329729"/>
                  </a:lnTo>
                  <a:cubicBezTo>
                    <a:pt x="506228" y="329729"/>
                    <a:pt x="515128" y="338616"/>
                    <a:pt x="515128" y="349546"/>
                  </a:cubicBezTo>
                  <a:cubicBezTo>
                    <a:pt x="515128" y="491286"/>
                    <a:pt x="399607" y="606722"/>
                    <a:pt x="257564" y="606722"/>
                  </a:cubicBezTo>
                  <a:cubicBezTo>
                    <a:pt x="115521" y="606722"/>
                    <a:pt x="0" y="491286"/>
                    <a:pt x="0" y="349546"/>
                  </a:cubicBezTo>
                  <a:cubicBezTo>
                    <a:pt x="0" y="207717"/>
                    <a:pt x="115521" y="92370"/>
                    <a:pt x="257564" y="92370"/>
                  </a:cubicBezTo>
                  <a:close/>
                  <a:moveTo>
                    <a:pt x="350027" y="0"/>
                  </a:moveTo>
                  <a:cubicBezTo>
                    <a:pt x="492007" y="0"/>
                    <a:pt x="607639" y="115367"/>
                    <a:pt x="607639" y="257220"/>
                  </a:cubicBezTo>
                  <a:cubicBezTo>
                    <a:pt x="607639" y="268152"/>
                    <a:pt x="598737" y="277040"/>
                    <a:pt x="587788" y="277040"/>
                  </a:cubicBezTo>
                  <a:lnTo>
                    <a:pt x="350027" y="277040"/>
                  </a:lnTo>
                  <a:cubicBezTo>
                    <a:pt x="339078" y="277040"/>
                    <a:pt x="330176" y="268152"/>
                    <a:pt x="330176" y="257220"/>
                  </a:cubicBezTo>
                  <a:lnTo>
                    <a:pt x="330176" y="19820"/>
                  </a:lnTo>
                  <a:cubicBezTo>
                    <a:pt x="330176" y="8888"/>
                    <a:pt x="339078" y="0"/>
                    <a:pt x="35002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74" name="îṣľiḓè"/>
            <p:cNvSpPr/>
            <p:nvPr/>
          </p:nvSpPr>
          <p:spPr bwMode="auto">
            <a:xfrm>
              <a:off x="4471521" y="1860106"/>
              <a:ext cx="353485" cy="240234"/>
            </a:xfrm>
            <a:custGeom>
              <a:avLst/>
              <a:gdLst>
                <a:gd name="connsiteX0" fmla="*/ 437011 w 604816"/>
                <a:gd name="connsiteY0" fmla="*/ 83550 h 411044"/>
                <a:gd name="connsiteX1" fmla="*/ 604816 w 604816"/>
                <a:gd name="connsiteY1" fmla="*/ 214450 h 411044"/>
                <a:gd name="connsiteX2" fmla="*/ 539177 w 604816"/>
                <a:gd name="connsiteY2" fmla="*/ 317799 h 411044"/>
                <a:gd name="connsiteX3" fmla="*/ 523523 w 604816"/>
                <a:gd name="connsiteY3" fmla="*/ 340690 h 411044"/>
                <a:gd name="connsiteX4" fmla="*/ 528878 w 604816"/>
                <a:gd name="connsiteY4" fmla="*/ 400177 h 411044"/>
                <a:gd name="connsiteX5" fmla="*/ 462004 w 604816"/>
                <a:gd name="connsiteY5" fmla="*/ 353300 h 411044"/>
                <a:gd name="connsiteX6" fmla="*/ 440033 w 604816"/>
                <a:gd name="connsiteY6" fmla="*/ 345213 h 411044"/>
                <a:gd name="connsiteX7" fmla="*/ 437011 w 604816"/>
                <a:gd name="connsiteY7" fmla="*/ 345350 h 411044"/>
                <a:gd name="connsiteX8" fmla="*/ 338279 w 604816"/>
                <a:gd name="connsiteY8" fmla="*/ 319992 h 411044"/>
                <a:gd name="connsiteX9" fmla="*/ 269207 w 604816"/>
                <a:gd name="connsiteY9" fmla="*/ 214450 h 411044"/>
                <a:gd name="connsiteX10" fmla="*/ 272091 w 604816"/>
                <a:gd name="connsiteY10" fmla="*/ 190189 h 411044"/>
                <a:gd name="connsiteX11" fmla="*/ 280467 w 604816"/>
                <a:gd name="connsiteY11" fmla="*/ 167299 h 411044"/>
                <a:gd name="connsiteX12" fmla="*/ 342948 w 604816"/>
                <a:gd name="connsiteY12" fmla="*/ 106166 h 411044"/>
                <a:gd name="connsiteX13" fmla="*/ 355581 w 604816"/>
                <a:gd name="connsiteY13" fmla="*/ 100135 h 411044"/>
                <a:gd name="connsiteX14" fmla="*/ 358602 w 604816"/>
                <a:gd name="connsiteY14" fmla="*/ 98765 h 411044"/>
                <a:gd name="connsiteX15" fmla="*/ 417375 w 604816"/>
                <a:gd name="connsiteY15" fmla="*/ 84509 h 411044"/>
                <a:gd name="connsiteX16" fmla="*/ 437011 w 604816"/>
                <a:gd name="connsiteY16" fmla="*/ 83550 h 411044"/>
                <a:gd name="connsiteX17" fmla="*/ 213353 w 604816"/>
                <a:gd name="connsiteY17" fmla="*/ 0 h 411044"/>
                <a:gd name="connsiteX18" fmla="*/ 340760 w 604816"/>
                <a:gd name="connsiteY18" fmla="*/ 33580 h 411044"/>
                <a:gd name="connsiteX19" fmla="*/ 331973 w 604816"/>
                <a:gd name="connsiteY19" fmla="*/ 37143 h 411044"/>
                <a:gd name="connsiteX20" fmla="*/ 327031 w 604816"/>
                <a:gd name="connsiteY20" fmla="*/ 39336 h 411044"/>
                <a:gd name="connsiteX21" fmla="*/ 310418 w 604816"/>
                <a:gd name="connsiteY21" fmla="*/ 47423 h 411044"/>
                <a:gd name="connsiteX22" fmla="*/ 306849 w 604816"/>
                <a:gd name="connsiteY22" fmla="*/ 49479 h 411044"/>
                <a:gd name="connsiteX23" fmla="*/ 294630 w 604816"/>
                <a:gd name="connsiteY23" fmla="*/ 56743 h 411044"/>
                <a:gd name="connsiteX24" fmla="*/ 289413 w 604816"/>
                <a:gd name="connsiteY24" fmla="*/ 60307 h 411044"/>
                <a:gd name="connsiteX25" fmla="*/ 279528 w 604816"/>
                <a:gd name="connsiteY25" fmla="*/ 67297 h 411044"/>
                <a:gd name="connsiteX26" fmla="*/ 274585 w 604816"/>
                <a:gd name="connsiteY26" fmla="*/ 71134 h 411044"/>
                <a:gd name="connsiteX27" fmla="*/ 264425 w 604816"/>
                <a:gd name="connsiteY27" fmla="*/ 79906 h 411044"/>
                <a:gd name="connsiteX28" fmla="*/ 261130 w 604816"/>
                <a:gd name="connsiteY28" fmla="*/ 82784 h 411044"/>
                <a:gd name="connsiteX29" fmla="*/ 249186 w 604816"/>
                <a:gd name="connsiteY29" fmla="*/ 95120 h 411044"/>
                <a:gd name="connsiteX30" fmla="*/ 246165 w 604816"/>
                <a:gd name="connsiteY30" fmla="*/ 98683 h 411044"/>
                <a:gd name="connsiteX31" fmla="*/ 238203 w 604816"/>
                <a:gd name="connsiteY31" fmla="*/ 108552 h 411044"/>
                <a:gd name="connsiteX32" fmla="*/ 234770 w 604816"/>
                <a:gd name="connsiteY32" fmla="*/ 113349 h 411044"/>
                <a:gd name="connsiteX33" fmla="*/ 228317 w 604816"/>
                <a:gd name="connsiteY33" fmla="*/ 123080 h 411044"/>
                <a:gd name="connsiteX34" fmla="*/ 225434 w 604816"/>
                <a:gd name="connsiteY34" fmla="*/ 127877 h 411044"/>
                <a:gd name="connsiteX35" fmla="*/ 218844 w 604816"/>
                <a:gd name="connsiteY35" fmla="*/ 140487 h 411044"/>
                <a:gd name="connsiteX36" fmla="*/ 217609 w 604816"/>
                <a:gd name="connsiteY36" fmla="*/ 142954 h 411044"/>
                <a:gd name="connsiteX37" fmla="*/ 211430 w 604816"/>
                <a:gd name="connsiteY37" fmla="*/ 158442 h 411044"/>
                <a:gd name="connsiteX38" fmla="*/ 209920 w 604816"/>
                <a:gd name="connsiteY38" fmla="*/ 163102 h 411044"/>
                <a:gd name="connsiteX39" fmla="*/ 206763 w 604816"/>
                <a:gd name="connsiteY39" fmla="*/ 174752 h 411044"/>
                <a:gd name="connsiteX40" fmla="*/ 205527 w 604816"/>
                <a:gd name="connsiteY40" fmla="*/ 180371 h 411044"/>
                <a:gd name="connsiteX41" fmla="*/ 203467 w 604816"/>
                <a:gd name="connsiteY41" fmla="*/ 192159 h 411044"/>
                <a:gd name="connsiteX42" fmla="*/ 202781 w 604816"/>
                <a:gd name="connsiteY42" fmla="*/ 197367 h 411044"/>
                <a:gd name="connsiteX43" fmla="*/ 201820 w 604816"/>
                <a:gd name="connsiteY43" fmla="*/ 214499 h 411044"/>
                <a:gd name="connsiteX44" fmla="*/ 203467 w 604816"/>
                <a:gd name="connsiteY44" fmla="*/ 236155 h 411044"/>
                <a:gd name="connsiteX45" fmla="*/ 204154 w 604816"/>
                <a:gd name="connsiteY45" fmla="*/ 241637 h 411044"/>
                <a:gd name="connsiteX46" fmla="*/ 208822 w 604816"/>
                <a:gd name="connsiteY46" fmla="*/ 262608 h 411044"/>
                <a:gd name="connsiteX47" fmla="*/ 208959 w 604816"/>
                <a:gd name="connsiteY47" fmla="*/ 263019 h 411044"/>
                <a:gd name="connsiteX48" fmla="*/ 216373 w 604816"/>
                <a:gd name="connsiteY48" fmla="*/ 282893 h 411044"/>
                <a:gd name="connsiteX49" fmla="*/ 218707 w 604816"/>
                <a:gd name="connsiteY49" fmla="*/ 287827 h 411044"/>
                <a:gd name="connsiteX50" fmla="*/ 229004 w 604816"/>
                <a:gd name="connsiteY50" fmla="*/ 307152 h 411044"/>
                <a:gd name="connsiteX51" fmla="*/ 229416 w 604816"/>
                <a:gd name="connsiteY51" fmla="*/ 307700 h 411044"/>
                <a:gd name="connsiteX52" fmla="*/ 242321 w 604816"/>
                <a:gd name="connsiteY52" fmla="*/ 325381 h 411044"/>
                <a:gd name="connsiteX53" fmla="*/ 245616 w 604816"/>
                <a:gd name="connsiteY53" fmla="*/ 329630 h 411044"/>
                <a:gd name="connsiteX54" fmla="*/ 249186 w 604816"/>
                <a:gd name="connsiteY54" fmla="*/ 333742 h 411044"/>
                <a:gd name="connsiteX55" fmla="*/ 213490 w 604816"/>
                <a:gd name="connsiteY55" fmla="*/ 336209 h 411044"/>
                <a:gd name="connsiteX56" fmla="*/ 213353 w 604816"/>
                <a:gd name="connsiteY56" fmla="*/ 336209 h 411044"/>
                <a:gd name="connsiteX57" fmla="*/ 187679 w 604816"/>
                <a:gd name="connsiteY57" fmla="*/ 344159 h 411044"/>
                <a:gd name="connsiteX58" fmla="*/ 87318 w 604816"/>
                <a:gd name="connsiteY58" fmla="*/ 411044 h 411044"/>
                <a:gd name="connsiteX59" fmla="*/ 99674 w 604816"/>
                <a:gd name="connsiteY59" fmla="*/ 324148 h 411044"/>
                <a:gd name="connsiteX60" fmla="*/ 84023 w 604816"/>
                <a:gd name="connsiteY60" fmla="*/ 301259 h 411044"/>
                <a:gd name="connsiteX61" fmla="*/ 0 w 604816"/>
                <a:gd name="connsiteY61" fmla="*/ 168036 h 411044"/>
                <a:gd name="connsiteX62" fmla="*/ 213353 w 604816"/>
                <a:gd name="connsiteY62" fmla="*/ 0 h 411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604816" h="411044">
                  <a:moveTo>
                    <a:pt x="437011" y="83550"/>
                  </a:moveTo>
                  <a:cubicBezTo>
                    <a:pt x="529565" y="83550"/>
                    <a:pt x="604816" y="142215"/>
                    <a:pt x="604816" y="214450"/>
                  </a:cubicBezTo>
                  <a:cubicBezTo>
                    <a:pt x="604816" y="254885"/>
                    <a:pt x="580922" y="292579"/>
                    <a:pt x="539177" y="317799"/>
                  </a:cubicBezTo>
                  <a:cubicBezTo>
                    <a:pt x="530938" y="322871"/>
                    <a:pt x="525308" y="331095"/>
                    <a:pt x="523523" y="340690"/>
                  </a:cubicBezTo>
                  <a:cubicBezTo>
                    <a:pt x="519953" y="360564"/>
                    <a:pt x="522974" y="381125"/>
                    <a:pt x="528878" y="400177"/>
                  </a:cubicBezTo>
                  <a:cubicBezTo>
                    <a:pt x="505122" y="387156"/>
                    <a:pt x="481366" y="370022"/>
                    <a:pt x="462004" y="353300"/>
                  </a:cubicBezTo>
                  <a:cubicBezTo>
                    <a:pt x="455824" y="348091"/>
                    <a:pt x="448134" y="345213"/>
                    <a:pt x="440033" y="345213"/>
                  </a:cubicBezTo>
                  <a:cubicBezTo>
                    <a:pt x="438934" y="345213"/>
                    <a:pt x="437835" y="345350"/>
                    <a:pt x="437011" y="345350"/>
                  </a:cubicBezTo>
                  <a:cubicBezTo>
                    <a:pt x="401308" y="345350"/>
                    <a:pt x="367253" y="336577"/>
                    <a:pt x="338279" y="319992"/>
                  </a:cubicBezTo>
                  <a:cubicBezTo>
                    <a:pt x="295023" y="295183"/>
                    <a:pt x="269207" y="255844"/>
                    <a:pt x="269207" y="214450"/>
                  </a:cubicBezTo>
                  <a:cubicBezTo>
                    <a:pt x="269207" y="206089"/>
                    <a:pt x="270168" y="198002"/>
                    <a:pt x="272091" y="190189"/>
                  </a:cubicBezTo>
                  <a:cubicBezTo>
                    <a:pt x="274013" y="182239"/>
                    <a:pt x="276760" y="174563"/>
                    <a:pt x="280467" y="167299"/>
                  </a:cubicBezTo>
                  <a:cubicBezTo>
                    <a:pt x="292826" y="142352"/>
                    <a:pt x="314797" y="121107"/>
                    <a:pt x="342948" y="106166"/>
                  </a:cubicBezTo>
                  <a:cubicBezTo>
                    <a:pt x="347067" y="103973"/>
                    <a:pt x="351187" y="102054"/>
                    <a:pt x="355581" y="100135"/>
                  </a:cubicBezTo>
                  <a:cubicBezTo>
                    <a:pt x="356542" y="99724"/>
                    <a:pt x="357503" y="99176"/>
                    <a:pt x="358602" y="98765"/>
                  </a:cubicBezTo>
                  <a:cubicBezTo>
                    <a:pt x="376454" y="91363"/>
                    <a:pt x="396228" y="86428"/>
                    <a:pt x="417375" y="84509"/>
                  </a:cubicBezTo>
                  <a:cubicBezTo>
                    <a:pt x="423829" y="83824"/>
                    <a:pt x="430283" y="83550"/>
                    <a:pt x="437011" y="83550"/>
                  </a:cubicBezTo>
                  <a:close/>
                  <a:moveTo>
                    <a:pt x="213353" y="0"/>
                  </a:moveTo>
                  <a:cubicBezTo>
                    <a:pt x="259757" y="0"/>
                    <a:pt x="304377" y="12061"/>
                    <a:pt x="340760" y="33580"/>
                  </a:cubicBezTo>
                  <a:cubicBezTo>
                    <a:pt x="337740" y="34676"/>
                    <a:pt x="334856" y="36047"/>
                    <a:pt x="331973" y="37143"/>
                  </a:cubicBezTo>
                  <a:cubicBezTo>
                    <a:pt x="330326" y="37966"/>
                    <a:pt x="328678" y="38514"/>
                    <a:pt x="327031" y="39336"/>
                  </a:cubicBezTo>
                  <a:cubicBezTo>
                    <a:pt x="321264" y="41803"/>
                    <a:pt x="315773" y="44545"/>
                    <a:pt x="310418" y="47423"/>
                  </a:cubicBezTo>
                  <a:cubicBezTo>
                    <a:pt x="309183" y="48108"/>
                    <a:pt x="308084" y="48793"/>
                    <a:pt x="306849" y="49479"/>
                  </a:cubicBezTo>
                  <a:cubicBezTo>
                    <a:pt x="302730" y="51809"/>
                    <a:pt x="298611" y="54139"/>
                    <a:pt x="294630" y="56743"/>
                  </a:cubicBezTo>
                  <a:cubicBezTo>
                    <a:pt x="292845" y="57839"/>
                    <a:pt x="291060" y="59073"/>
                    <a:pt x="289413" y="60307"/>
                  </a:cubicBezTo>
                  <a:cubicBezTo>
                    <a:pt x="285980" y="62500"/>
                    <a:pt x="282685" y="64830"/>
                    <a:pt x="279528" y="67297"/>
                  </a:cubicBezTo>
                  <a:cubicBezTo>
                    <a:pt x="277880" y="68530"/>
                    <a:pt x="276233" y="69901"/>
                    <a:pt x="274585" y="71134"/>
                  </a:cubicBezTo>
                  <a:cubicBezTo>
                    <a:pt x="271015" y="74013"/>
                    <a:pt x="267720" y="76891"/>
                    <a:pt x="264425" y="79906"/>
                  </a:cubicBezTo>
                  <a:cubicBezTo>
                    <a:pt x="263327" y="80866"/>
                    <a:pt x="262229" y="81825"/>
                    <a:pt x="261130" y="82784"/>
                  </a:cubicBezTo>
                  <a:cubicBezTo>
                    <a:pt x="257012" y="86759"/>
                    <a:pt x="253030" y="90871"/>
                    <a:pt x="249186" y="95120"/>
                  </a:cubicBezTo>
                  <a:cubicBezTo>
                    <a:pt x="248088" y="96216"/>
                    <a:pt x="247264" y="97450"/>
                    <a:pt x="246165" y="98683"/>
                  </a:cubicBezTo>
                  <a:cubicBezTo>
                    <a:pt x="243420" y="101836"/>
                    <a:pt x="240811" y="105125"/>
                    <a:pt x="238203" y="108552"/>
                  </a:cubicBezTo>
                  <a:cubicBezTo>
                    <a:pt x="237104" y="110197"/>
                    <a:pt x="235869" y="111704"/>
                    <a:pt x="234770" y="113349"/>
                  </a:cubicBezTo>
                  <a:cubicBezTo>
                    <a:pt x="232573" y="116501"/>
                    <a:pt x="230377" y="119791"/>
                    <a:pt x="228317" y="123080"/>
                  </a:cubicBezTo>
                  <a:cubicBezTo>
                    <a:pt x="227356" y="124725"/>
                    <a:pt x="226395" y="126233"/>
                    <a:pt x="225434" y="127877"/>
                  </a:cubicBezTo>
                  <a:cubicBezTo>
                    <a:pt x="223100" y="132126"/>
                    <a:pt x="220904" y="136238"/>
                    <a:pt x="218844" y="140487"/>
                  </a:cubicBezTo>
                  <a:cubicBezTo>
                    <a:pt x="218432" y="141309"/>
                    <a:pt x="218021" y="142132"/>
                    <a:pt x="217609" y="142954"/>
                  </a:cubicBezTo>
                  <a:cubicBezTo>
                    <a:pt x="215275" y="148025"/>
                    <a:pt x="213215" y="153233"/>
                    <a:pt x="211430" y="158442"/>
                  </a:cubicBezTo>
                  <a:cubicBezTo>
                    <a:pt x="210881" y="159949"/>
                    <a:pt x="210469" y="161457"/>
                    <a:pt x="209920" y="163102"/>
                  </a:cubicBezTo>
                  <a:cubicBezTo>
                    <a:pt x="208685" y="166940"/>
                    <a:pt x="207724" y="170777"/>
                    <a:pt x="206763" y="174752"/>
                  </a:cubicBezTo>
                  <a:cubicBezTo>
                    <a:pt x="206213" y="176671"/>
                    <a:pt x="205801" y="178453"/>
                    <a:pt x="205527" y="180371"/>
                  </a:cubicBezTo>
                  <a:cubicBezTo>
                    <a:pt x="204703" y="184209"/>
                    <a:pt x="204017" y="188184"/>
                    <a:pt x="203467" y="192159"/>
                  </a:cubicBezTo>
                  <a:cubicBezTo>
                    <a:pt x="203193" y="193940"/>
                    <a:pt x="202918" y="195585"/>
                    <a:pt x="202781" y="197367"/>
                  </a:cubicBezTo>
                  <a:cubicBezTo>
                    <a:pt x="202232" y="203123"/>
                    <a:pt x="201820" y="208743"/>
                    <a:pt x="201820" y="214499"/>
                  </a:cubicBezTo>
                  <a:cubicBezTo>
                    <a:pt x="201820" y="221901"/>
                    <a:pt x="202506" y="229028"/>
                    <a:pt x="203467" y="236155"/>
                  </a:cubicBezTo>
                  <a:cubicBezTo>
                    <a:pt x="203605" y="238074"/>
                    <a:pt x="203879" y="239719"/>
                    <a:pt x="204154" y="241637"/>
                  </a:cubicBezTo>
                  <a:cubicBezTo>
                    <a:pt x="205390" y="248627"/>
                    <a:pt x="206763" y="255755"/>
                    <a:pt x="208822" y="262608"/>
                  </a:cubicBezTo>
                  <a:cubicBezTo>
                    <a:pt x="208822" y="262745"/>
                    <a:pt x="208959" y="262882"/>
                    <a:pt x="208959" y="263019"/>
                  </a:cubicBezTo>
                  <a:cubicBezTo>
                    <a:pt x="211019" y="269735"/>
                    <a:pt x="213627" y="276451"/>
                    <a:pt x="216373" y="282893"/>
                  </a:cubicBezTo>
                  <a:cubicBezTo>
                    <a:pt x="217197" y="284537"/>
                    <a:pt x="217883" y="286182"/>
                    <a:pt x="218707" y="287827"/>
                  </a:cubicBezTo>
                  <a:cubicBezTo>
                    <a:pt x="221727" y="294406"/>
                    <a:pt x="225160" y="300847"/>
                    <a:pt x="229004" y="307152"/>
                  </a:cubicBezTo>
                  <a:cubicBezTo>
                    <a:pt x="229141" y="307289"/>
                    <a:pt x="229278" y="307563"/>
                    <a:pt x="229416" y="307700"/>
                  </a:cubicBezTo>
                  <a:cubicBezTo>
                    <a:pt x="233260" y="313731"/>
                    <a:pt x="237653" y="319625"/>
                    <a:pt x="242321" y="325381"/>
                  </a:cubicBezTo>
                  <a:cubicBezTo>
                    <a:pt x="243420" y="326752"/>
                    <a:pt x="244518" y="328122"/>
                    <a:pt x="245616" y="329630"/>
                  </a:cubicBezTo>
                  <a:cubicBezTo>
                    <a:pt x="246852" y="331001"/>
                    <a:pt x="247950" y="332371"/>
                    <a:pt x="249186" y="333742"/>
                  </a:cubicBezTo>
                  <a:cubicBezTo>
                    <a:pt x="237379" y="335387"/>
                    <a:pt x="225572" y="336209"/>
                    <a:pt x="213490" y="336209"/>
                  </a:cubicBezTo>
                  <a:lnTo>
                    <a:pt x="213353" y="336209"/>
                  </a:lnTo>
                  <a:cubicBezTo>
                    <a:pt x="204154" y="335661"/>
                    <a:pt x="194681" y="337991"/>
                    <a:pt x="187679" y="344159"/>
                  </a:cubicBezTo>
                  <a:cubicBezTo>
                    <a:pt x="158847" y="368692"/>
                    <a:pt x="122602" y="394323"/>
                    <a:pt x="87318" y="411044"/>
                  </a:cubicBezTo>
                  <a:cubicBezTo>
                    <a:pt x="97890" y="384317"/>
                    <a:pt x="105029" y="353479"/>
                    <a:pt x="99674" y="324148"/>
                  </a:cubicBezTo>
                  <a:cubicBezTo>
                    <a:pt x="98027" y="314691"/>
                    <a:pt x="92261" y="306330"/>
                    <a:pt x="84023" y="301259"/>
                  </a:cubicBezTo>
                  <a:cubicBezTo>
                    <a:pt x="30616" y="268912"/>
                    <a:pt x="0" y="220393"/>
                    <a:pt x="0" y="168036"/>
                  </a:cubicBezTo>
                  <a:cubicBezTo>
                    <a:pt x="0" y="75383"/>
                    <a:pt x="95693" y="0"/>
                    <a:pt x="21335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75" name="iṧḷíde"/>
            <p:cNvSpPr/>
            <p:nvPr/>
          </p:nvSpPr>
          <p:spPr bwMode="auto">
            <a:xfrm>
              <a:off x="3875298" y="3251795"/>
              <a:ext cx="340948" cy="340433"/>
            </a:xfrm>
            <a:custGeom>
              <a:avLst/>
              <a:gdLst>
                <a:gd name="T0" fmla="*/ 3413 w 6827"/>
                <a:gd name="T1" fmla="*/ 0 h 6827"/>
                <a:gd name="T2" fmla="*/ 0 w 6827"/>
                <a:gd name="T3" fmla="*/ 3413 h 6827"/>
                <a:gd name="T4" fmla="*/ 3413 w 6827"/>
                <a:gd name="T5" fmla="*/ 6827 h 6827"/>
                <a:gd name="T6" fmla="*/ 6827 w 6827"/>
                <a:gd name="T7" fmla="*/ 3413 h 6827"/>
                <a:gd name="T8" fmla="*/ 3413 w 6827"/>
                <a:gd name="T9" fmla="*/ 0 h 6827"/>
                <a:gd name="T10" fmla="*/ 5017 w 6827"/>
                <a:gd name="T11" fmla="*/ 3033 h 6827"/>
                <a:gd name="T12" fmla="*/ 3431 w 6827"/>
                <a:gd name="T13" fmla="*/ 4619 h 6827"/>
                <a:gd name="T14" fmla="*/ 2802 w 6827"/>
                <a:gd name="T15" fmla="*/ 4619 h 6827"/>
                <a:gd name="T16" fmla="*/ 1884 w 6827"/>
                <a:gd name="T17" fmla="*/ 3701 h 6827"/>
                <a:gd name="T18" fmla="*/ 1884 w 6827"/>
                <a:gd name="T19" fmla="*/ 3072 h 6827"/>
                <a:gd name="T20" fmla="*/ 2514 w 6827"/>
                <a:gd name="T21" fmla="*/ 3072 h 6827"/>
                <a:gd name="T22" fmla="*/ 3117 w 6827"/>
                <a:gd name="T23" fmla="*/ 3674 h 6827"/>
                <a:gd name="T24" fmla="*/ 4387 w 6827"/>
                <a:gd name="T25" fmla="*/ 2404 h 6827"/>
                <a:gd name="T26" fmla="*/ 5017 w 6827"/>
                <a:gd name="T27" fmla="*/ 2404 h 6827"/>
                <a:gd name="T28" fmla="*/ 5017 w 6827"/>
                <a:gd name="T29" fmla="*/ 3033 h 6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827" h="6827">
                  <a:moveTo>
                    <a:pt x="3413" y="0"/>
                  </a:moveTo>
                  <a:cubicBezTo>
                    <a:pt x="1531" y="0"/>
                    <a:pt x="0" y="1531"/>
                    <a:pt x="0" y="3413"/>
                  </a:cubicBezTo>
                  <a:cubicBezTo>
                    <a:pt x="0" y="5295"/>
                    <a:pt x="1531" y="6827"/>
                    <a:pt x="3413" y="6827"/>
                  </a:cubicBezTo>
                  <a:cubicBezTo>
                    <a:pt x="5296" y="6827"/>
                    <a:pt x="6827" y="5295"/>
                    <a:pt x="6827" y="3413"/>
                  </a:cubicBezTo>
                  <a:cubicBezTo>
                    <a:pt x="6827" y="1531"/>
                    <a:pt x="5296" y="0"/>
                    <a:pt x="3413" y="0"/>
                  </a:cubicBezTo>
                  <a:close/>
                  <a:moveTo>
                    <a:pt x="5017" y="3033"/>
                  </a:moveTo>
                  <a:lnTo>
                    <a:pt x="3431" y="4619"/>
                  </a:lnTo>
                  <a:cubicBezTo>
                    <a:pt x="3257" y="4792"/>
                    <a:pt x="2976" y="4792"/>
                    <a:pt x="2802" y="4619"/>
                  </a:cubicBezTo>
                  <a:lnTo>
                    <a:pt x="1884" y="3701"/>
                  </a:lnTo>
                  <a:cubicBezTo>
                    <a:pt x="1710" y="3527"/>
                    <a:pt x="1710" y="3245"/>
                    <a:pt x="1884" y="3072"/>
                  </a:cubicBezTo>
                  <a:cubicBezTo>
                    <a:pt x="2058" y="2898"/>
                    <a:pt x="2340" y="2898"/>
                    <a:pt x="2514" y="3072"/>
                  </a:cubicBezTo>
                  <a:lnTo>
                    <a:pt x="3117" y="3674"/>
                  </a:lnTo>
                  <a:lnTo>
                    <a:pt x="4387" y="2404"/>
                  </a:lnTo>
                  <a:cubicBezTo>
                    <a:pt x="4561" y="2230"/>
                    <a:pt x="4843" y="2230"/>
                    <a:pt x="5017" y="2404"/>
                  </a:cubicBezTo>
                  <a:cubicBezTo>
                    <a:pt x="5190" y="2578"/>
                    <a:pt x="5190" y="2859"/>
                    <a:pt x="5017" y="30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76" name="ïslíḓé"/>
            <p:cNvSpPr/>
            <p:nvPr/>
          </p:nvSpPr>
          <p:spPr bwMode="auto">
            <a:xfrm>
              <a:off x="7360651" y="1810393"/>
              <a:ext cx="343455" cy="339662"/>
            </a:xfrm>
            <a:custGeom>
              <a:avLst/>
              <a:gdLst>
                <a:gd name="connsiteX0" fmla="*/ 466437 w 600511"/>
                <a:gd name="connsiteY0" fmla="*/ 421770 h 593879"/>
                <a:gd name="connsiteX1" fmla="*/ 504684 w 600511"/>
                <a:gd name="connsiteY1" fmla="*/ 459981 h 593879"/>
                <a:gd name="connsiteX2" fmla="*/ 466437 w 600511"/>
                <a:gd name="connsiteY2" fmla="*/ 498192 h 593879"/>
                <a:gd name="connsiteX3" fmla="*/ 428190 w 600511"/>
                <a:gd name="connsiteY3" fmla="*/ 459981 h 593879"/>
                <a:gd name="connsiteX4" fmla="*/ 466437 w 600511"/>
                <a:gd name="connsiteY4" fmla="*/ 421770 h 593879"/>
                <a:gd name="connsiteX5" fmla="*/ 453390 w 600511"/>
                <a:gd name="connsiteY5" fmla="*/ 375066 h 593879"/>
                <a:gd name="connsiteX6" fmla="*/ 421127 w 600511"/>
                <a:gd name="connsiteY6" fmla="*/ 386990 h 593879"/>
                <a:gd name="connsiteX7" fmla="*/ 418868 w 600511"/>
                <a:gd name="connsiteY7" fmla="*/ 392146 h 593879"/>
                <a:gd name="connsiteX8" fmla="*/ 424031 w 600511"/>
                <a:gd name="connsiteY8" fmla="*/ 406325 h 593879"/>
                <a:gd name="connsiteX9" fmla="*/ 423385 w 600511"/>
                <a:gd name="connsiteY9" fmla="*/ 411481 h 593879"/>
                <a:gd name="connsiteX10" fmla="*/ 416287 w 600511"/>
                <a:gd name="connsiteY10" fmla="*/ 413737 h 593879"/>
                <a:gd name="connsiteX11" fmla="*/ 402414 w 600511"/>
                <a:gd name="connsiteY11" fmla="*/ 407292 h 593879"/>
                <a:gd name="connsiteX12" fmla="*/ 397252 w 600511"/>
                <a:gd name="connsiteY12" fmla="*/ 409226 h 593879"/>
                <a:gd name="connsiteX13" fmla="*/ 383056 w 600511"/>
                <a:gd name="connsiteY13" fmla="*/ 440485 h 593879"/>
                <a:gd name="connsiteX14" fmla="*/ 384669 w 600511"/>
                <a:gd name="connsiteY14" fmla="*/ 445318 h 593879"/>
                <a:gd name="connsiteX15" fmla="*/ 398542 w 600511"/>
                <a:gd name="connsiteY15" fmla="*/ 451764 h 593879"/>
                <a:gd name="connsiteX16" fmla="*/ 401769 w 600511"/>
                <a:gd name="connsiteY16" fmla="*/ 455953 h 593879"/>
                <a:gd name="connsiteX17" fmla="*/ 398220 w 600511"/>
                <a:gd name="connsiteY17" fmla="*/ 462720 h 593879"/>
                <a:gd name="connsiteX18" fmla="*/ 384024 w 600511"/>
                <a:gd name="connsiteY18" fmla="*/ 467876 h 593879"/>
                <a:gd name="connsiteX19" fmla="*/ 381766 w 600511"/>
                <a:gd name="connsiteY19" fmla="*/ 472710 h 593879"/>
                <a:gd name="connsiteX20" fmla="*/ 393380 w 600511"/>
                <a:gd name="connsiteY20" fmla="*/ 504936 h 593879"/>
                <a:gd name="connsiteX21" fmla="*/ 398542 w 600511"/>
                <a:gd name="connsiteY21" fmla="*/ 507192 h 593879"/>
                <a:gd name="connsiteX22" fmla="*/ 412738 w 600511"/>
                <a:gd name="connsiteY22" fmla="*/ 502036 h 593879"/>
                <a:gd name="connsiteX23" fmla="*/ 417900 w 600511"/>
                <a:gd name="connsiteY23" fmla="*/ 502680 h 593879"/>
                <a:gd name="connsiteX24" fmla="*/ 420159 w 600511"/>
                <a:gd name="connsiteY24" fmla="*/ 510092 h 593879"/>
                <a:gd name="connsiteX25" fmla="*/ 413706 w 600511"/>
                <a:gd name="connsiteY25" fmla="*/ 523949 h 593879"/>
                <a:gd name="connsiteX26" fmla="*/ 415642 w 600511"/>
                <a:gd name="connsiteY26" fmla="*/ 528783 h 593879"/>
                <a:gd name="connsiteX27" fmla="*/ 446937 w 600511"/>
                <a:gd name="connsiteY27" fmla="*/ 543285 h 593879"/>
                <a:gd name="connsiteX28" fmla="*/ 451777 w 600511"/>
                <a:gd name="connsiteY28" fmla="*/ 541351 h 593879"/>
                <a:gd name="connsiteX29" fmla="*/ 458230 w 600511"/>
                <a:gd name="connsiteY29" fmla="*/ 527494 h 593879"/>
                <a:gd name="connsiteX30" fmla="*/ 462424 w 600511"/>
                <a:gd name="connsiteY30" fmla="*/ 524272 h 593879"/>
                <a:gd name="connsiteX31" fmla="*/ 469199 w 600511"/>
                <a:gd name="connsiteY31" fmla="*/ 528139 h 593879"/>
                <a:gd name="connsiteX32" fmla="*/ 474361 w 600511"/>
                <a:gd name="connsiteY32" fmla="*/ 542318 h 593879"/>
                <a:gd name="connsiteX33" fmla="*/ 479201 w 600511"/>
                <a:gd name="connsiteY33" fmla="*/ 544574 h 593879"/>
                <a:gd name="connsiteX34" fmla="*/ 511464 w 600511"/>
                <a:gd name="connsiteY34" fmla="*/ 532650 h 593879"/>
                <a:gd name="connsiteX35" fmla="*/ 513723 w 600511"/>
                <a:gd name="connsiteY35" fmla="*/ 527816 h 593879"/>
                <a:gd name="connsiteX36" fmla="*/ 508560 w 600511"/>
                <a:gd name="connsiteY36" fmla="*/ 513315 h 593879"/>
                <a:gd name="connsiteX37" fmla="*/ 509206 w 600511"/>
                <a:gd name="connsiteY37" fmla="*/ 508159 h 593879"/>
                <a:gd name="connsiteX38" fmla="*/ 516626 w 600511"/>
                <a:gd name="connsiteY38" fmla="*/ 506225 h 593879"/>
                <a:gd name="connsiteX39" fmla="*/ 530500 w 600511"/>
                <a:gd name="connsiteY39" fmla="*/ 512348 h 593879"/>
                <a:gd name="connsiteX40" fmla="*/ 535339 w 600511"/>
                <a:gd name="connsiteY40" fmla="*/ 510737 h 593879"/>
                <a:gd name="connsiteX41" fmla="*/ 549858 w 600511"/>
                <a:gd name="connsiteY41" fmla="*/ 479478 h 593879"/>
                <a:gd name="connsiteX42" fmla="*/ 547922 w 600511"/>
                <a:gd name="connsiteY42" fmla="*/ 474322 h 593879"/>
                <a:gd name="connsiteX43" fmla="*/ 534049 w 600511"/>
                <a:gd name="connsiteY43" fmla="*/ 467876 h 593879"/>
                <a:gd name="connsiteX44" fmla="*/ 531145 w 600511"/>
                <a:gd name="connsiteY44" fmla="*/ 461109 h 593879"/>
                <a:gd name="connsiteX45" fmla="*/ 534694 w 600511"/>
                <a:gd name="connsiteY45" fmla="*/ 457242 h 593879"/>
                <a:gd name="connsiteX46" fmla="*/ 548890 w 600511"/>
                <a:gd name="connsiteY46" fmla="*/ 451764 h 593879"/>
                <a:gd name="connsiteX47" fmla="*/ 551148 w 600511"/>
                <a:gd name="connsiteY47" fmla="*/ 446930 h 593879"/>
                <a:gd name="connsiteX48" fmla="*/ 539211 w 600511"/>
                <a:gd name="connsiteY48" fmla="*/ 414704 h 593879"/>
                <a:gd name="connsiteX49" fmla="*/ 534371 w 600511"/>
                <a:gd name="connsiteY49" fmla="*/ 412448 h 593879"/>
                <a:gd name="connsiteX50" fmla="*/ 520175 w 600511"/>
                <a:gd name="connsiteY50" fmla="*/ 417604 h 593879"/>
                <a:gd name="connsiteX51" fmla="*/ 514691 w 600511"/>
                <a:gd name="connsiteY51" fmla="*/ 416960 h 593879"/>
                <a:gd name="connsiteX52" fmla="*/ 512755 w 600511"/>
                <a:gd name="connsiteY52" fmla="*/ 409548 h 593879"/>
                <a:gd name="connsiteX53" fmla="*/ 518885 w 600511"/>
                <a:gd name="connsiteY53" fmla="*/ 396013 h 593879"/>
                <a:gd name="connsiteX54" fmla="*/ 516949 w 600511"/>
                <a:gd name="connsiteY54" fmla="*/ 390857 h 593879"/>
                <a:gd name="connsiteX55" fmla="*/ 485976 w 600511"/>
                <a:gd name="connsiteY55" fmla="*/ 376355 h 593879"/>
                <a:gd name="connsiteX56" fmla="*/ 480814 w 600511"/>
                <a:gd name="connsiteY56" fmla="*/ 378289 h 593879"/>
                <a:gd name="connsiteX57" fmla="*/ 474361 w 600511"/>
                <a:gd name="connsiteY57" fmla="*/ 392146 h 593879"/>
                <a:gd name="connsiteX58" fmla="*/ 470167 w 600511"/>
                <a:gd name="connsiteY58" fmla="*/ 395368 h 593879"/>
                <a:gd name="connsiteX59" fmla="*/ 463714 w 600511"/>
                <a:gd name="connsiteY59" fmla="*/ 391824 h 593879"/>
                <a:gd name="connsiteX60" fmla="*/ 458230 w 600511"/>
                <a:gd name="connsiteY60" fmla="*/ 377322 h 593879"/>
                <a:gd name="connsiteX61" fmla="*/ 453390 w 600511"/>
                <a:gd name="connsiteY61" fmla="*/ 375066 h 593879"/>
                <a:gd name="connsiteX62" fmla="*/ 0 w 600511"/>
                <a:gd name="connsiteY62" fmla="*/ 372515 h 593879"/>
                <a:gd name="connsiteX63" fmla="*/ 233292 w 600511"/>
                <a:gd name="connsiteY63" fmla="*/ 465626 h 593879"/>
                <a:gd name="connsiteX64" fmla="*/ 305248 w 600511"/>
                <a:gd name="connsiteY64" fmla="*/ 461116 h 593879"/>
                <a:gd name="connsiteX65" fmla="*/ 332998 w 600511"/>
                <a:gd name="connsiteY65" fmla="*/ 549716 h 593879"/>
                <a:gd name="connsiteX66" fmla="*/ 233292 w 600511"/>
                <a:gd name="connsiteY66" fmla="*/ 558737 h 593879"/>
                <a:gd name="connsiteX67" fmla="*/ 0 w 600511"/>
                <a:gd name="connsiteY67" fmla="*/ 465626 h 593879"/>
                <a:gd name="connsiteX68" fmla="*/ 466295 w 600511"/>
                <a:gd name="connsiteY68" fmla="*/ 326083 h 593879"/>
                <a:gd name="connsiteX69" fmla="*/ 600511 w 600511"/>
                <a:gd name="connsiteY69" fmla="*/ 459820 h 593879"/>
                <a:gd name="connsiteX70" fmla="*/ 466295 w 600511"/>
                <a:gd name="connsiteY70" fmla="*/ 593879 h 593879"/>
                <a:gd name="connsiteX71" fmla="*/ 332080 w 600511"/>
                <a:gd name="connsiteY71" fmla="*/ 459820 h 593879"/>
                <a:gd name="connsiteX72" fmla="*/ 466295 w 600511"/>
                <a:gd name="connsiteY72" fmla="*/ 326083 h 593879"/>
                <a:gd name="connsiteX73" fmla="*/ 0 w 600511"/>
                <a:gd name="connsiteY73" fmla="*/ 232654 h 593879"/>
                <a:gd name="connsiteX74" fmla="*/ 233309 w 600511"/>
                <a:gd name="connsiteY74" fmla="*/ 326103 h 593879"/>
                <a:gd name="connsiteX75" fmla="*/ 466296 w 600511"/>
                <a:gd name="connsiteY75" fmla="*/ 232654 h 593879"/>
                <a:gd name="connsiteX76" fmla="*/ 466296 w 600511"/>
                <a:gd name="connsiteY76" fmla="*/ 299035 h 593879"/>
                <a:gd name="connsiteX77" fmla="*/ 312370 w 600511"/>
                <a:gd name="connsiteY77" fmla="*/ 413429 h 593879"/>
                <a:gd name="connsiteX78" fmla="*/ 233309 w 600511"/>
                <a:gd name="connsiteY78" fmla="*/ 419229 h 593879"/>
                <a:gd name="connsiteX79" fmla="*/ 0 w 600511"/>
                <a:gd name="connsiteY79" fmla="*/ 326103 h 593879"/>
                <a:gd name="connsiteX80" fmla="*/ 233309 w 600511"/>
                <a:gd name="connsiteY80" fmla="*/ 23200 h 593879"/>
                <a:gd name="connsiteX81" fmla="*/ 23234 w 600511"/>
                <a:gd name="connsiteY81" fmla="*/ 93123 h 593879"/>
                <a:gd name="connsiteX82" fmla="*/ 233309 w 600511"/>
                <a:gd name="connsiteY82" fmla="*/ 163046 h 593879"/>
                <a:gd name="connsiteX83" fmla="*/ 443062 w 600511"/>
                <a:gd name="connsiteY83" fmla="*/ 93123 h 593879"/>
                <a:gd name="connsiteX84" fmla="*/ 233309 w 600511"/>
                <a:gd name="connsiteY84" fmla="*/ 23200 h 593879"/>
                <a:gd name="connsiteX85" fmla="*/ 233309 w 600511"/>
                <a:gd name="connsiteY85" fmla="*/ 0 h 593879"/>
                <a:gd name="connsiteX86" fmla="*/ 466296 w 600511"/>
                <a:gd name="connsiteY86" fmla="*/ 93123 h 593879"/>
                <a:gd name="connsiteX87" fmla="*/ 466296 w 600511"/>
                <a:gd name="connsiteY87" fmla="*/ 186246 h 593879"/>
                <a:gd name="connsiteX88" fmla="*/ 233309 w 600511"/>
                <a:gd name="connsiteY88" fmla="*/ 279369 h 593879"/>
                <a:gd name="connsiteX89" fmla="*/ 0 w 600511"/>
                <a:gd name="connsiteY89" fmla="*/ 186246 h 593879"/>
                <a:gd name="connsiteX90" fmla="*/ 0 w 600511"/>
                <a:gd name="connsiteY90" fmla="*/ 93123 h 593879"/>
                <a:gd name="connsiteX91" fmla="*/ 233309 w 600511"/>
                <a:gd name="connsiteY91" fmla="*/ 0 h 593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600511" h="593879">
                  <a:moveTo>
                    <a:pt x="466437" y="421770"/>
                  </a:moveTo>
                  <a:cubicBezTo>
                    <a:pt x="487560" y="421770"/>
                    <a:pt x="504684" y="438878"/>
                    <a:pt x="504684" y="459981"/>
                  </a:cubicBezTo>
                  <a:cubicBezTo>
                    <a:pt x="504684" y="481084"/>
                    <a:pt x="487560" y="498192"/>
                    <a:pt x="466437" y="498192"/>
                  </a:cubicBezTo>
                  <a:cubicBezTo>
                    <a:pt x="445314" y="498192"/>
                    <a:pt x="428190" y="481084"/>
                    <a:pt x="428190" y="459981"/>
                  </a:cubicBezTo>
                  <a:cubicBezTo>
                    <a:pt x="428190" y="438878"/>
                    <a:pt x="445314" y="421770"/>
                    <a:pt x="466437" y="421770"/>
                  </a:cubicBezTo>
                  <a:close/>
                  <a:moveTo>
                    <a:pt x="453390" y="375066"/>
                  </a:moveTo>
                  <a:lnTo>
                    <a:pt x="421127" y="386990"/>
                  </a:lnTo>
                  <a:cubicBezTo>
                    <a:pt x="419191" y="387957"/>
                    <a:pt x="418223" y="389890"/>
                    <a:pt x="418868" y="392146"/>
                  </a:cubicBezTo>
                  <a:lnTo>
                    <a:pt x="424031" y="406325"/>
                  </a:lnTo>
                  <a:cubicBezTo>
                    <a:pt x="424998" y="408259"/>
                    <a:pt x="424676" y="410515"/>
                    <a:pt x="423385" y="411481"/>
                  </a:cubicBezTo>
                  <a:cubicBezTo>
                    <a:pt x="422417" y="412448"/>
                    <a:pt x="418223" y="414382"/>
                    <a:pt x="416287" y="413737"/>
                  </a:cubicBezTo>
                  <a:lnTo>
                    <a:pt x="402414" y="407292"/>
                  </a:lnTo>
                  <a:cubicBezTo>
                    <a:pt x="400478" y="406325"/>
                    <a:pt x="398220" y="407292"/>
                    <a:pt x="397252" y="409226"/>
                  </a:cubicBezTo>
                  <a:lnTo>
                    <a:pt x="383056" y="440485"/>
                  </a:lnTo>
                  <a:cubicBezTo>
                    <a:pt x="382088" y="442096"/>
                    <a:pt x="383056" y="444674"/>
                    <a:pt x="384669" y="445318"/>
                  </a:cubicBezTo>
                  <a:lnTo>
                    <a:pt x="398542" y="451764"/>
                  </a:lnTo>
                  <a:cubicBezTo>
                    <a:pt x="400478" y="452730"/>
                    <a:pt x="402091" y="454664"/>
                    <a:pt x="401769" y="455953"/>
                  </a:cubicBezTo>
                  <a:cubicBezTo>
                    <a:pt x="401769" y="457564"/>
                    <a:pt x="400156" y="462076"/>
                    <a:pt x="398220" y="462720"/>
                  </a:cubicBezTo>
                  <a:lnTo>
                    <a:pt x="384024" y="467876"/>
                  </a:lnTo>
                  <a:cubicBezTo>
                    <a:pt x="382088" y="468521"/>
                    <a:pt x="381120" y="470777"/>
                    <a:pt x="381766" y="472710"/>
                  </a:cubicBezTo>
                  <a:lnTo>
                    <a:pt x="393380" y="504936"/>
                  </a:lnTo>
                  <a:cubicBezTo>
                    <a:pt x="394348" y="506870"/>
                    <a:pt x="396607" y="507836"/>
                    <a:pt x="398542" y="507192"/>
                  </a:cubicBezTo>
                  <a:lnTo>
                    <a:pt x="412738" y="502036"/>
                  </a:lnTo>
                  <a:cubicBezTo>
                    <a:pt x="414674" y="501391"/>
                    <a:pt x="417255" y="501713"/>
                    <a:pt x="417900" y="502680"/>
                  </a:cubicBezTo>
                  <a:cubicBezTo>
                    <a:pt x="418868" y="503969"/>
                    <a:pt x="421127" y="508159"/>
                    <a:pt x="420159" y="510092"/>
                  </a:cubicBezTo>
                  <a:lnTo>
                    <a:pt x="413706" y="523949"/>
                  </a:lnTo>
                  <a:cubicBezTo>
                    <a:pt x="412738" y="525561"/>
                    <a:pt x="413706" y="527816"/>
                    <a:pt x="415642" y="528783"/>
                  </a:cubicBezTo>
                  <a:lnTo>
                    <a:pt x="446937" y="543285"/>
                  </a:lnTo>
                  <a:cubicBezTo>
                    <a:pt x="448873" y="544251"/>
                    <a:pt x="451132" y="543285"/>
                    <a:pt x="451777" y="541351"/>
                  </a:cubicBezTo>
                  <a:lnTo>
                    <a:pt x="458230" y="527494"/>
                  </a:lnTo>
                  <a:cubicBezTo>
                    <a:pt x="459198" y="525561"/>
                    <a:pt x="461133" y="524272"/>
                    <a:pt x="462424" y="524272"/>
                  </a:cubicBezTo>
                  <a:cubicBezTo>
                    <a:pt x="464037" y="524272"/>
                    <a:pt x="468554" y="525883"/>
                    <a:pt x="469199" y="528139"/>
                  </a:cubicBezTo>
                  <a:lnTo>
                    <a:pt x="474361" y="542318"/>
                  </a:lnTo>
                  <a:cubicBezTo>
                    <a:pt x="475007" y="544251"/>
                    <a:pt x="477265" y="545218"/>
                    <a:pt x="479201" y="544574"/>
                  </a:cubicBezTo>
                  <a:lnTo>
                    <a:pt x="511464" y="532650"/>
                  </a:lnTo>
                  <a:cubicBezTo>
                    <a:pt x="513400" y="532006"/>
                    <a:pt x="514368" y="529750"/>
                    <a:pt x="513723" y="527816"/>
                  </a:cubicBezTo>
                  <a:lnTo>
                    <a:pt x="508560" y="513315"/>
                  </a:lnTo>
                  <a:cubicBezTo>
                    <a:pt x="507915" y="511381"/>
                    <a:pt x="508238" y="509125"/>
                    <a:pt x="509206" y="508159"/>
                  </a:cubicBezTo>
                  <a:cubicBezTo>
                    <a:pt x="510496" y="507192"/>
                    <a:pt x="514691" y="505258"/>
                    <a:pt x="516626" y="506225"/>
                  </a:cubicBezTo>
                  <a:lnTo>
                    <a:pt x="530500" y="512348"/>
                  </a:lnTo>
                  <a:cubicBezTo>
                    <a:pt x="532435" y="513315"/>
                    <a:pt x="534694" y="512348"/>
                    <a:pt x="535339" y="510737"/>
                  </a:cubicBezTo>
                  <a:lnTo>
                    <a:pt x="549858" y="479478"/>
                  </a:lnTo>
                  <a:cubicBezTo>
                    <a:pt x="550825" y="477544"/>
                    <a:pt x="549858" y="475288"/>
                    <a:pt x="547922" y="474322"/>
                  </a:cubicBezTo>
                  <a:lnTo>
                    <a:pt x="534049" y="467876"/>
                  </a:lnTo>
                  <a:cubicBezTo>
                    <a:pt x="532113" y="467232"/>
                    <a:pt x="531145" y="462398"/>
                    <a:pt x="531145" y="461109"/>
                  </a:cubicBezTo>
                  <a:cubicBezTo>
                    <a:pt x="531145" y="459498"/>
                    <a:pt x="532435" y="457886"/>
                    <a:pt x="534694" y="457242"/>
                  </a:cubicBezTo>
                  <a:lnTo>
                    <a:pt x="548890" y="451764"/>
                  </a:lnTo>
                  <a:cubicBezTo>
                    <a:pt x="550825" y="451119"/>
                    <a:pt x="551793" y="448863"/>
                    <a:pt x="551148" y="446930"/>
                  </a:cubicBezTo>
                  <a:lnTo>
                    <a:pt x="539211" y="414704"/>
                  </a:lnTo>
                  <a:cubicBezTo>
                    <a:pt x="538565" y="412770"/>
                    <a:pt x="536307" y="411804"/>
                    <a:pt x="534371" y="412448"/>
                  </a:cubicBezTo>
                  <a:lnTo>
                    <a:pt x="520175" y="417604"/>
                  </a:lnTo>
                  <a:cubicBezTo>
                    <a:pt x="517917" y="418571"/>
                    <a:pt x="515658" y="418249"/>
                    <a:pt x="514691" y="416960"/>
                  </a:cubicBezTo>
                  <a:cubicBezTo>
                    <a:pt x="513723" y="415993"/>
                    <a:pt x="511787" y="411481"/>
                    <a:pt x="512755" y="409548"/>
                  </a:cubicBezTo>
                  <a:lnTo>
                    <a:pt x="518885" y="396013"/>
                  </a:lnTo>
                  <a:cubicBezTo>
                    <a:pt x="519853" y="394079"/>
                    <a:pt x="518885" y="391824"/>
                    <a:pt x="516949" y="390857"/>
                  </a:cubicBezTo>
                  <a:lnTo>
                    <a:pt x="485976" y="376355"/>
                  </a:lnTo>
                  <a:cubicBezTo>
                    <a:pt x="484040" y="375711"/>
                    <a:pt x="481782" y="376355"/>
                    <a:pt x="480814" y="378289"/>
                  </a:cubicBezTo>
                  <a:lnTo>
                    <a:pt x="474361" y="392146"/>
                  </a:lnTo>
                  <a:cubicBezTo>
                    <a:pt x="473716" y="394079"/>
                    <a:pt x="471780" y="395691"/>
                    <a:pt x="470167" y="395368"/>
                  </a:cubicBezTo>
                  <a:cubicBezTo>
                    <a:pt x="468877" y="395368"/>
                    <a:pt x="464360" y="393757"/>
                    <a:pt x="463714" y="391824"/>
                  </a:cubicBezTo>
                  <a:lnTo>
                    <a:pt x="458230" y="377322"/>
                  </a:lnTo>
                  <a:cubicBezTo>
                    <a:pt x="457584" y="375389"/>
                    <a:pt x="455326" y="374422"/>
                    <a:pt x="453390" y="375066"/>
                  </a:cubicBezTo>
                  <a:close/>
                  <a:moveTo>
                    <a:pt x="0" y="372515"/>
                  </a:moveTo>
                  <a:cubicBezTo>
                    <a:pt x="0" y="424064"/>
                    <a:pt x="104223" y="465626"/>
                    <a:pt x="233292" y="465626"/>
                  </a:cubicBezTo>
                  <a:cubicBezTo>
                    <a:pt x="258461" y="465626"/>
                    <a:pt x="282661" y="464015"/>
                    <a:pt x="305248" y="461116"/>
                  </a:cubicBezTo>
                  <a:cubicBezTo>
                    <a:pt x="305571" y="493978"/>
                    <a:pt x="315574" y="524264"/>
                    <a:pt x="332998" y="549716"/>
                  </a:cubicBezTo>
                  <a:cubicBezTo>
                    <a:pt x="302667" y="555515"/>
                    <a:pt x="268786" y="558737"/>
                    <a:pt x="233292" y="558737"/>
                  </a:cubicBezTo>
                  <a:cubicBezTo>
                    <a:pt x="104546" y="558737"/>
                    <a:pt x="0" y="517175"/>
                    <a:pt x="0" y="465626"/>
                  </a:cubicBezTo>
                  <a:close/>
                  <a:moveTo>
                    <a:pt x="466295" y="326083"/>
                  </a:moveTo>
                  <a:cubicBezTo>
                    <a:pt x="540501" y="326083"/>
                    <a:pt x="600511" y="386023"/>
                    <a:pt x="600511" y="459820"/>
                  </a:cubicBezTo>
                  <a:cubicBezTo>
                    <a:pt x="600511" y="533939"/>
                    <a:pt x="540501" y="593879"/>
                    <a:pt x="466295" y="593879"/>
                  </a:cubicBezTo>
                  <a:cubicBezTo>
                    <a:pt x="392412" y="593879"/>
                    <a:pt x="332080" y="533939"/>
                    <a:pt x="332080" y="459820"/>
                  </a:cubicBezTo>
                  <a:cubicBezTo>
                    <a:pt x="332080" y="386023"/>
                    <a:pt x="392412" y="326083"/>
                    <a:pt x="466295" y="326083"/>
                  </a:cubicBezTo>
                  <a:close/>
                  <a:moveTo>
                    <a:pt x="0" y="232654"/>
                  </a:moveTo>
                  <a:cubicBezTo>
                    <a:pt x="0" y="284212"/>
                    <a:pt x="104554" y="326103"/>
                    <a:pt x="233309" y="326103"/>
                  </a:cubicBezTo>
                  <a:cubicBezTo>
                    <a:pt x="362065" y="326103"/>
                    <a:pt x="466296" y="284212"/>
                    <a:pt x="466296" y="232654"/>
                  </a:cubicBezTo>
                  <a:lnTo>
                    <a:pt x="466296" y="299035"/>
                  </a:lnTo>
                  <a:cubicBezTo>
                    <a:pt x="393689" y="299035"/>
                    <a:pt x="332377" y="347370"/>
                    <a:pt x="312370" y="413429"/>
                  </a:cubicBezTo>
                  <a:cubicBezTo>
                    <a:pt x="287522" y="416973"/>
                    <a:pt x="261061" y="419229"/>
                    <a:pt x="233309" y="419229"/>
                  </a:cubicBezTo>
                  <a:cubicBezTo>
                    <a:pt x="104231" y="419229"/>
                    <a:pt x="0" y="377338"/>
                    <a:pt x="0" y="326103"/>
                  </a:cubicBezTo>
                  <a:close/>
                  <a:moveTo>
                    <a:pt x="233309" y="23200"/>
                  </a:moveTo>
                  <a:cubicBezTo>
                    <a:pt x="105199" y="23200"/>
                    <a:pt x="23234" y="64445"/>
                    <a:pt x="23234" y="93123"/>
                  </a:cubicBezTo>
                  <a:cubicBezTo>
                    <a:pt x="23234" y="121479"/>
                    <a:pt x="105199" y="163046"/>
                    <a:pt x="233309" y="163046"/>
                  </a:cubicBezTo>
                  <a:cubicBezTo>
                    <a:pt x="361420" y="163046"/>
                    <a:pt x="443062" y="121479"/>
                    <a:pt x="443062" y="93123"/>
                  </a:cubicBezTo>
                  <a:cubicBezTo>
                    <a:pt x="443062" y="64445"/>
                    <a:pt x="361420" y="23200"/>
                    <a:pt x="233309" y="23200"/>
                  </a:cubicBezTo>
                  <a:close/>
                  <a:moveTo>
                    <a:pt x="233309" y="0"/>
                  </a:moveTo>
                  <a:cubicBezTo>
                    <a:pt x="362065" y="0"/>
                    <a:pt x="466296" y="41567"/>
                    <a:pt x="466296" y="93123"/>
                  </a:cubicBezTo>
                  <a:lnTo>
                    <a:pt x="466296" y="186246"/>
                  </a:lnTo>
                  <a:cubicBezTo>
                    <a:pt x="466296" y="237802"/>
                    <a:pt x="362065" y="279369"/>
                    <a:pt x="233309" y="279369"/>
                  </a:cubicBezTo>
                  <a:cubicBezTo>
                    <a:pt x="104231" y="279369"/>
                    <a:pt x="0" y="237802"/>
                    <a:pt x="0" y="186246"/>
                  </a:cubicBezTo>
                  <a:lnTo>
                    <a:pt x="0" y="93123"/>
                  </a:lnTo>
                  <a:cubicBezTo>
                    <a:pt x="0" y="41567"/>
                    <a:pt x="104554" y="0"/>
                    <a:pt x="23330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77" name="iṩļîḋè"/>
            <p:cNvSpPr/>
            <p:nvPr/>
          </p:nvSpPr>
          <p:spPr bwMode="auto">
            <a:xfrm>
              <a:off x="4472794" y="4737435"/>
              <a:ext cx="342202" cy="258842"/>
            </a:xfrm>
            <a:custGeom>
              <a:avLst/>
              <a:gdLst>
                <a:gd name="connsiteX0" fmla="*/ 303150 w 606298"/>
                <a:gd name="connsiteY0" fmla="*/ 172180 h 458605"/>
                <a:gd name="connsiteX1" fmla="*/ 409775 w 606298"/>
                <a:gd name="connsiteY1" fmla="*/ 278664 h 458605"/>
                <a:gd name="connsiteX2" fmla="*/ 303150 w 606298"/>
                <a:gd name="connsiteY2" fmla="*/ 385148 h 458605"/>
                <a:gd name="connsiteX3" fmla="*/ 196525 w 606298"/>
                <a:gd name="connsiteY3" fmla="*/ 278664 h 458605"/>
                <a:gd name="connsiteX4" fmla="*/ 303150 w 606298"/>
                <a:gd name="connsiteY4" fmla="*/ 172180 h 458605"/>
                <a:gd name="connsiteX5" fmla="*/ 303149 w 606298"/>
                <a:gd name="connsiteY5" fmla="*/ 131787 h 458605"/>
                <a:gd name="connsiteX6" fmla="*/ 156060 w 606298"/>
                <a:gd name="connsiteY6" fmla="*/ 278654 h 458605"/>
                <a:gd name="connsiteX7" fmla="*/ 303149 w 606298"/>
                <a:gd name="connsiteY7" fmla="*/ 425430 h 458605"/>
                <a:gd name="connsiteX8" fmla="*/ 450147 w 606298"/>
                <a:gd name="connsiteY8" fmla="*/ 278654 h 458605"/>
                <a:gd name="connsiteX9" fmla="*/ 303149 w 606298"/>
                <a:gd name="connsiteY9" fmla="*/ 131787 h 458605"/>
                <a:gd name="connsiteX10" fmla="*/ 72767 w 606298"/>
                <a:gd name="connsiteY10" fmla="*/ 60502 h 458605"/>
                <a:gd name="connsiteX11" fmla="*/ 60593 w 606298"/>
                <a:gd name="connsiteY11" fmla="*/ 72657 h 458605"/>
                <a:gd name="connsiteX12" fmla="*/ 60593 w 606298"/>
                <a:gd name="connsiteY12" fmla="*/ 98155 h 458605"/>
                <a:gd name="connsiteX13" fmla="*/ 165762 w 606298"/>
                <a:gd name="connsiteY13" fmla="*/ 98155 h 458605"/>
                <a:gd name="connsiteX14" fmla="*/ 165762 w 606298"/>
                <a:gd name="connsiteY14" fmla="*/ 72657 h 458605"/>
                <a:gd name="connsiteX15" fmla="*/ 153588 w 606298"/>
                <a:gd name="connsiteY15" fmla="*/ 60502 h 458605"/>
                <a:gd name="connsiteX16" fmla="*/ 72767 w 606298"/>
                <a:gd name="connsiteY16" fmla="*/ 0 h 458605"/>
                <a:gd name="connsiteX17" fmla="*/ 153588 w 606298"/>
                <a:gd name="connsiteY17" fmla="*/ 0 h 458605"/>
                <a:gd name="connsiteX18" fmla="*/ 226355 w 606298"/>
                <a:gd name="connsiteY18" fmla="*/ 72657 h 458605"/>
                <a:gd name="connsiteX19" fmla="*/ 226355 w 606298"/>
                <a:gd name="connsiteY19" fmla="*/ 98612 h 458605"/>
                <a:gd name="connsiteX20" fmla="*/ 417654 w 606298"/>
                <a:gd name="connsiteY20" fmla="*/ 98612 h 458605"/>
                <a:gd name="connsiteX21" fmla="*/ 417654 w 606298"/>
                <a:gd name="connsiteY21" fmla="*/ 74119 h 458605"/>
                <a:gd name="connsiteX22" fmla="*/ 449781 w 606298"/>
                <a:gd name="connsiteY22" fmla="*/ 42041 h 458605"/>
                <a:gd name="connsiteX23" fmla="*/ 506713 w 606298"/>
                <a:gd name="connsiteY23" fmla="*/ 42041 h 458605"/>
                <a:gd name="connsiteX24" fmla="*/ 538932 w 606298"/>
                <a:gd name="connsiteY24" fmla="*/ 74119 h 458605"/>
                <a:gd name="connsiteX25" fmla="*/ 538932 w 606298"/>
                <a:gd name="connsiteY25" fmla="*/ 98612 h 458605"/>
                <a:gd name="connsiteX26" fmla="*/ 546712 w 606298"/>
                <a:gd name="connsiteY26" fmla="*/ 98612 h 458605"/>
                <a:gd name="connsiteX27" fmla="*/ 606298 w 606298"/>
                <a:gd name="connsiteY27" fmla="*/ 158108 h 458605"/>
                <a:gd name="connsiteX28" fmla="*/ 606298 w 606298"/>
                <a:gd name="connsiteY28" fmla="*/ 399109 h 458605"/>
                <a:gd name="connsiteX29" fmla="*/ 546712 w 606298"/>
                <a:gd name="connsiteY29" fmla="*/ 458605 h 458605"/>
                <a:gd name="connsiteX30" fmla="*/ 59495 w 606298"/>
                <a:gd name="connsiteY30" fmla="*/ 458605 h 458605"/>
                <a:gd name="connsiteX31" fmla="*/ 0 w 606298"/>
                <a:gd name="connsiteY31" fmla="*/ 399109 h 458605"/>
                <a:gd name="connsiteX32" fmla="*/ 0 w 606298"/>
                <a:gd name="connsiteY32" fmla="*/ 72657 h 458605"/>
                <a:gd name="connsiteX33" fmla="*/ 72767 w 606298"/>
                <a:gd name="connsiteY33" fmla="*/ 0 h 458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06298" h="458605">
                  <a:moveTo>
                    <a:pt x="303150" y="172180"/>
                  </a:moveTo>
                  <a:cubicBezTo>
                    <a:pt x="362037" y="172180"/>
                    <a:pt x="409775" y="219855"/>
                    <a:pt x="409775" y="278664"/>
                  </a:cubicBezTo>
                  <a:cubicBezTo>
                    <a:pt x="409775" y="337473"/>
                    <a:pt x="362037" y="385148"/>
                    <a:pt x="303150" y="385148"/>
                  </a:cubicBezTo>
                  <a:cubicBezTo>
                    <a:pt x="244263" y="385148"/>
                    <a:pt x="196525" y="337473"/>
                    <a:pt x="196525" y="278664"/>
                  </a:cubicBezTo>
                  <a:cubicBezTo>
                    <a:pt x="196525" y="219855"/>
                    <a:pt x="244263" y="172180"/>
                    <a:pt x="303150" y="172180"/>
                  </a:cubicBezTo>
                  <a:close/>
                  <a:moveTo>
                    <a:pt x="303149" y="131787"/>
                  </a:moveTo>
                  <a:cubicBezTo>
                    <a:pt x="222053" y="131787"/>
                    <a:pt x="156060" y="197681"/>
                    <a:pt x="156060" y="278654"/>
                  </a:cubicBezTo>
                  <a:cubicBezTo>
                    <a:pt x="156060" y="359536"/>
                    <a:pt x="222053" y="425430"/>
                    <a:pt x="303149" y="425430"/>
                  </a:cubicBezTo>
                  <a:cubicBezTo>
                    <a:pt x="384245" y="425430"/>
                    <a:pt x="450147" y="359536"/>
                    <a:pt x="450147" y="278654"/>
                  </a:cubicBezTo>
                  <a:cubicBezTo>
                    <a:pt x="450147" y="197681"/>
                    <a:pt x="384245" y="131787"/>
                    <a:pt x="303149" y="131787"/>
                  </a:cubicBezTo>
                  <a:close/>
                  <a:moveTo>
                    <a:pt x="72767" y="60502"/>
                  </a:moveTo>
                  <a:cubicBezTo>
                    <a:pt x="66085" y="60502"/>
                    <a:pt x="60593" y="65985"/>
                    <a:pt x="60593" y="72657"/>
                  </a:cubicBezTo>
                  <a:lnTo>
                    <a:pt x="60593" y="98155"/>
                  </a:lnTo>
                  <a:lnTo>
                    <a:pt x="165762" y="98155"/>
                  </a:lnTo>
                  <a:lnTo>
                    <a:pt x="165762" y="72657"/>
                  </a:lnTo>
                  <a:cubicBezTo>
                    <a:pt x="165762" y="65985"/>
                    <a:pt x="160270" y="60502"/>
                    <a:pt x="153588" y="60502"/>
                  </a:cubicBezTo>
                  <a:close/>
                  <a:moveTo>
                    <a:pt x="72767" y="0"/>
                  </a:moveTo>
                  <a:lnTo>
                    <a:pt x="153588" y="0"/>
                  </a:lnTo>
                  <a:cubicBezTo>
                    <a:pt x="193770" y="0"/>
                    <a:pt x="226355" y="32536"/>
                    <a:pt x="226355" y="72657"/>
                  </a:cubicBezTo>
                  <a:lnTo>
                    <a:pt x="226355" y="98612"/>
                  </a:lnTo>
                  <a:lnTo>
                    <a:pt x="417654" y="98612"/>
                  </a:lnTo>
                  <a:lnTo>
                    <a:pt x="417654" y="74119"/>
                  </a:lnTo>
                  <a:cubicBezTo>
                    <a:pt x="417654" y="56389"/>
                    <a:pt x="432024" y="42041"/>
                    <a:pt x="449781" y="42041"/>
                  </a:cubicBezTo>
                  <a:lnTo>
                    <a:pt x="506713" y="42041"/>
                  </a:lnTo>
                  <a:cubicBezTo>
                    <a:pt x="524561" y="42041"/>
                    <a:pt x="538932" y="56389"/>
                    <a:pt x="538932" y="74119"/>
                  </a:cubicBezTo>
                  <a:lnTo>
                    <a:pt x="538932" y="98612"/>
                  </a:lnTo>
                  <a:lnTo>
                    <a:pt x="546712" y="98612"/>
                  </a:lnTo>
                  <a:cubicBezTo>
                    <a:pt x="579571" y="98612"/>
                    <a:pt x="606298" y="125299"/>
                    <a:pt x="606298" y="158108"/>
                  </a:cubicBezTo>
                  <a:lnTo>
                    <a:pt x="606298" y="399109"/>
                  </a:lnTo>
                  <a:cubicBezTo>
                    <a:pt x="606298" y="431919"/>
                    <a:pt x="579571" y="458605"/>
                    <a:pt x="546712" y="458605"/>
                  </a:cubicBezTo>
                  <a:lnTo>
                    <a:pt x="59495" y="458605"/>
                  </a:lnTo>
                  <a:cubicBezTo>
                    <a:pt x="26635" y="458605"/>
                    <a:pt x="0" y="431919"/>
                    <a:pt x="0" y="399109"/>
                  </a:cubicBezTo>
                  <a:lnTo>
                    <a:pt x="0" y="72657"/>
                  </a:lnTo>
                  <a:cubicBezTo>
                    <a:pt x="0" y="32536"/>
                    <a:pt x="32585" y="0"/>
                    <a:pt x="7276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78" name="îṩļiḓè"/>
            <p:cNvSpPr/>
            <p:nvPr/>
          </p:nvSpPr>
          <p:spPr>
            <a:xfrm>
              <a:off x="665163" y="1667557"/>
              <a:ext cx="3486183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r"/>
              <a:r>
                <a:rPr lang="zh-CN" altLang="en-US" sz="2400" dirty="0">
                  <a:solidFill>
                    <a:srgbClr val="0000FF"/>
                  </a:solidFill>
                </a:rPr>
                <a:t>处理机管理</a:t>
              </a:r>
              <a:r>
                <a:rPr lang="zh-CN" altLang="en-US" sz="2400" dirty="0"/>
                <a:t>功能</a:t>
              </a:r>
              <a:endParaRPr lang="en-US" altLang="zh-CN" sz="2400" dirty="0"/>
            </a:p>
          </p:txBody>
        </p:sp>
        <p:sp>
          <p:nvSpPr>
            <p:cNvPr id="79" name="ïṣľîḋê"/>
            <p:cNvSpPr/>
            <p:nvPr/>
          </p:nvSpPr>
          <p:spPr>
            <a:xfrm>
              <a:off x="8029002" y="1667557"/>
              <a:ext cx="3485135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r>
                <a:rPr lang="zh-CN" altLang="en-US" sz="2400" dirty="0">
                  <a:solidFill>
                    <a:srgbClr val="0000FF"/>
                  </a:solidFill>
                </a:rPr>
                <a:t>文件管理</a:t>
              </a:r>
              <a:r>
                <a:rPr lang="zh-CN" altLang="en-US" sz="2400" dirty="0"/>
                <a:t>功能</a:t>
              </a:r>
              <a:endParaRPr lang="en-US" altLang="zh-CN" sz="2400" dirty="0"/>
            </a:p>
          </p:txBody>
        </p:sp>
        <p:sp>
          <p:nvSpPr>
            <p:cNvPr id="80" name="išľïḓe"/>
            <p:cNvSpPr/>
            <p:nvPr/>
          </p:nvSpPr>
          <p:spPr>
            <a:xfrm>
              <a:off x="665164" y="3161434"/>
              <a:ext cx="2882020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r"/>
              <a:r>
                <a:rPr lang="zh-CN" altLang="en-US" sz="2400" dirty="0">
                  <a:solidFill>
                    <a:srgbClr val="0000FF"/>
                  </a:solidFill>
                </a:rPr>
                <a:t>内存管理</a:t>
              </a:r>
              <a:r>
                <a:rPr lang="zh-CN" altLang="en-US" sz="2400" dirty="0"/>
                <a:t>功能</a:t>
              </a:r>
              <a:endParaRPr lang="en-US" altLang="zh-CN" sz="2400" dirty="0"/>
            </a:p>
          </p:txBody>
        </p:sp>
        <p:sp>
          <p:nvSpPr>
            <p:cNvPr id="81" name="îṧľïdè"/>
            <p:cNvSpPr/>
            <p:nvPr/>
          </p:nvSpPr>
          <p:spPr>
            <a:xfrm>
              <a:off x="8602796" y="2904889"/>
              <a:ext cx="2632134" cy="1066230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pPr>
                <a:lnSpc>
                  <a:spcPct val="132000"/>
                </a:lnSpc>
              </a:pPr>
              <a:r>
                <a:rPr lang="zh-CN" altLang="en-US" sz="2400" dirty="0"/>
                <a:t>操作系统与用户之间的</a:t>
              </a:r>
              <a:r>
                <a:rPr lang="zh-CN" altLang="en-US" sz="2400" dirty="0">
                  <a:solidFill>
                    <a:srgbClr val="0000FF"/>
                  </a:solidFill>
                </a:rPr>
                <a:t>接口</a:t>
              </a:r>
              <a:endParaRPr lang="en-US" altLang="zh-CN" sz="2400" dirty="0"/>
            </a:p>
          </p:txBody>
        </p:sp>
        <p:sp>
          <p:nvSpPr>
            <p:cNvPr id="82" name="işľîḓé"/>
            <p:cNvSpPr/>
            <p:nvPr/>
          </p:nvSpPr>
          <p:spPr>
            <a:xfrm>
              <a:off x="665163" y="4708346"/>
              <a:ext cx="3486183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r"/>
              <a:r>
                <a:rPr lang="zh-CN" altLang="en-US" sz="2400" dirty="0">
                  <a:solidFill>
                    <a:srgbClr val="0000FF"/>
                  </a:solidFill>
                </a:rPr>
                <a:t>设备管理</a:t>
              </a:r>
              <a:r>
                <a:rPr lang="zh-CN" altLang="en-US" sz="2400" dirty="0"/>
                <a:t>功能</a:t>
              </a:r>
              <a:endParaRPr lang="en-US" altLang="zh-CN" sz="2400" dirty="0"/>
            </a:p>
          </p:txBody>
        </p:sp>
        <p:sp>
          <p:nvSpPr>
            <p:cNvPr id="83" name="ïśļíde"/>
            <p:cNvSpPr/>
            <p:nvPr/>
          </p:nvSpPr>
          <p:spPr>
            <a:xfrm>
              <a:off x="8029002" y="4708346"/>
              <a:ext cx="3485135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r>
                <a:rPr lang="zh-CN" altLang="en-US" sz="2400" dirty="0"/>
                <a:t>现代</a:t>
              </a:r>
              <a:r>
                <a:rPr lang="en-US" altLang="zh-CN" sz="2400" dirty="0"/>
                <a:t>OS</a:t>
              </a:r>
              <a:r>
                <a:rPr lang="zh-CN" altLang="en-US" sz="2400" dirty="0"/>
                <a:t>的新功能</a:t>
              </a:r>
              <a:endParaRPr lang="en-US" altLang="zh-CN" sz="2400" dirty="0"/>
            </a:p>
          </p:txBody>
        </p:sp>
      </p:grp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处理机管理功能</a:t>
            </a:r>
          </a:p>
        </p:txBody>
      </p:sp>
      <p:grpSp>
        <p:nvGrpSpPr>
          <p:cNvPr id="29" name="2176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476743" y="1670651"/>
            <a:ext cx="11246981" cy="4124771"/>
            <a:chOff x="673100" y="1464590"/>
            <a:chExt cx="11246981" cy="4124771"/>
          </a:xfrm>
        </p:grpSpPr>
        <p:sp>
          <p:nvSpPr>
            <p:cNvPr id="30" name="ïsḷîḋê"/>
            <p:cNvSpPr/>
            <p:nvPr/>
          </p:nvSpPr>
          <p:spPr>
            <a:xfrm>
              <a:off x="673100" y="1929384"/>
              <a:ext cx="10845800" cy="2125980"/>
            </a:xfrm>
            <a:prstGeom prst="rightArrow">
              <a:avLst>
                <a:gd name="adj1" fmla="val 50000"/>
                <a:gd name="adj2" fmla="val 4225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31" name="ïṩḻíḑe"/>
            <p:cNvSpPr/>
            <p:nvPr/>
          </p:nvSpPr>
          <p:spPr>
            <a:xfrm rot="2700000">
              <a:off x="1148317" y="2189617"/>
              <a:ext cx="1605516" cy="1605516"/>
            </a:xfrm>
            <a:custGeom>
              <a:avLst/>
              <a:gdLst>
                <a:gd name="connsiteX0" fmla="*/ 135628 w 1605516"/>
                <a:gd name="connsiteY0" fmla="*/ 135628 h 1605516"/>
                <a:gd name="connsiteX1" fmla="*/ 463063 w 1605516"/>
                <a:gd name="connsiteY1" fmla="*/ 0 h 1605516"/>
                <a:gd name="connsiteX2" fmla="*/ 1142453 w 1605516"/>
                <a:gd name="connsiteY2" fmla="*/ 0 h 1605516"/>
                <a:gd name="connsiteX3" fmla="*/ 1605516 w 1605516"/>
                <a:gd name="connsiteY3" fmla="*/ 463063 h 1605516"/>
                <a:gd name="connsiteX4" fmla="*/ 1605516 w 1605516"/>
                <a:gd name="connsiteY4" fmla="*/ 1142453 h 1605516"/>
                <a:gd name="connsiteX5" fmla="*/ 1142453 w 1605516"/>
                <a:gd name="connsiteY5" fmla="*/ 1605516 h 1605516"/>
                <a:gd name="connsiteX6" fmla="*/ 463063 w 1605516"/>
                <a:gd name="connsiteY6" fmla="*/ 1605516 h 1605516"/>
                <a:gd name="connsiteX7" fmla="*/ 282818 w 1605516"/>
                <a:gd name="connsiteY7" fmla="*/ 1569126 h 1605516"/>
                <a:gd name="connsiteX8" fmla="*/ 247355 w 1605516"/>
                <a:gd name="connsiteY8" fmla="*/ 1549878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637 w 1605516"/>
                <a:gd name="connsiteY14" fmla="*/ 1358159 h 1605516"/>
                <a:gd name="connsiteX15" fmla="*/ 36390 w 1605516"/>
                <a:gd name="connsiteY15" fmla="*/ 1322698 h 1605516"/>
                <a:gd name="connsiteX16" fmla="*/ 0 w 1605516"/>
                <a:gd name="connsiteY16" fmla="*/ 1142453 h 1605516"/>
                <a:gd name="connsiteX17" fmla="*/ 0 w 1605516"/>
                <a:gd name="connsiteY17" fmla="*/ 463063 h 1605516"/>
                <a:gd name="connsiteX18" fmla="*/ 135628 w 1605516"/>
                <a:gd name="connsiteY18" fmla="*/ 135628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628" y="135628"/>
                  </a:moveTo>
                  <a:cubicBezTo>
                    <a:pt x="219426" y="51830"/>
                    <a:pt x="335192" y="0"/>
                    <a:pt x="463063" y="0"/>
                  </a:cubicBezTo>
                  <a:lnTo>
                    <a:pt x="1142453" y="0"/>
                  </a:lnTo>
                  <a:cubicBezTo>
                    <a:pt x="1398196" y="0"/>
                    <a:pt x="1605516" y="207320"/>
                    <a:pt x="1605516" y="463063"/>
                  </a:cubicBezTo>
                  <a:lnTo>
                    <a:pt x="1605516" y="1142453"/>
                  </a:lnTo>
                  <a:cubicBezTo>
                    <a:pt x="1605516" y="1398196"/>
                    <a:pt x="1398196" y="1605516"/>
                    <a:pt x="1142453" y="1605516"/>
                  </a:cubicBezTo>
                  <a:lnTo>
                    <a:pt x="463063" y="1605516"/>
                  </a:lnTo>
                  <a:cubicBezTo>
                    <a:pt x="399127" y="1605516"/>
                    <a:pt x="338218" y="1592559"/>
                    <a:pt x="282818" y="1569126"/>
                  </a:cubicBezTo>
                  <a:lnTo>
                    <a:pt x="247355" y="1549878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637" y="1358159"/>
                  </a:lnTo>
                  <a:lnTo>
                    <a:pt x="36390" y="1322698"/>
                  </a:lnTo>
                  <a:cubicBezTo>
                    <a:pt x="12957" y="1267298"/>
                    <a:pt x="0" y="1206389"/>
                    <a:pt x="0" y="1142453"/>
                  </a:cubicBezTo>
                  <a:lnTo>
                    <a:pt x="0" y="463063"/>
                  </a:lnTo>
                  <a:cubicBezTo>
                    <a:pt x="0" y="335192"/>
                    <a:pt x="51830" y="219426"/>
                    <a:pt x="135628" y="135628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32" name="is1íḑe"/>
            <p:cNvSpPr/>
            <p:nvPr/>
          </p:nvSpPr>
          <p:spPr>
            <a:xfrm rot="2700000">
              <a:off x="3911600" y="2189617"/>
              <a:ext cx="1605516" cy="1605516"/>
            </a:xfrm>
            <a:custGeom>
              <a:avLst/>
              <a:gdLst>
                <a:gd name="connsiteX0" fmla="*/ 135459 w 1605516"/>
                <a:gd name="connsiteY0" fmla="*/ 135459 h 1605516"/>
                <a:gd name="connsiteX1" fmla="*/ 462485 w 1605516"/>
                <a:gd name="connsiteY1" fmla="*/ 0 h 1605516"/>
                <a:gd name="connsiteX2" fmla="*/ 1143031 w 1605516"/>
                <a:gd name="connsiteY2" fmla="*/ 0 h 1605516"/>
                <a:gd name="connsiteX3" fmla="*/ 1605516 w 1605516"/>
                <a:gd name="connsiteY3" fmla="*/ 462485 h 1605516"/>
                <a:gd name="connsiteX4" fmla="*/ 1605516 w 1605516"/>
                <a:gd name="connsiteY4" fmla="*/ 1143031 h 1605516"/>
                <a:gd name="connsiteX5" fmla="*/ 1143031 w 1605516"/>
                <a:gd name="connsiteY5" fmla="*/ 1605516 h 1605516"/>
                <a:gd name="connsiteX6" fmla="*/ 462485 w 1605516"/>
                <a:gd name="connsiteY6" fmla="*/ 1605516 h 1605516"/>
                <a:gd name="connsiteX7" fmla="*/ 282465 w 1605516"/>
                <a:gd name="connsiteY7" fmla="*/ 1569172 h 1605516"/>
                <a:gd name="connsiteX8" fmla="*/ 247202 w 1605516"/>
                <a:gd name="connsiteY8" fmla="*/ 1550031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84 w 1605516"/>
                <a:gd name="connsiteY14" fmla="*/ 1358313 h 1605516"/>
                <a:gd name="connsiteX15" fmla="*/ 36345 w 1605516"/>
                <a:gd name="connsiteY15" fmla="*/ 1323051 h 1605516"/>
                <a:gd name="connsiteX16" fmla="*/ 0 w 1605516"/>
                <a:gd name="connsiteY16" fmla="*/ 1143031 h 1605516"/>
                <a:gd name="connsiteX17" fmla="*/ 0 w 1605516"/>
                <a:gd name="connsiteY17" fmla="*/ 462485 h 1605516"/>
                <a:gd name="connsiteX18" fmla="*/ 135459 w 1605516"/>
                <a:gd name="connsiteY18" fmla="*/ 135459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59" y="135459"/>
                  </a:moveTo>
                  <a:cubicBezTo>
                    <a:pt x="219152" y="51765"/>
                    <a:pt x="334773" y="0"/>
                    <a:pt x="462485" y="0"/>
                  </a:cubicBezTo>
                  <a:lnTo>
                    <a:pt x="1143031" y="0"/>
                  </a:lnTo>
                  <a:cubicBezTo>
                    <a:pt x="1398454" y="0"/>
                    <a:pt x="1605516" y="207062"/>
                    <a:pt x="1605516" y="462485"/>
                  </a:cubicBezTo>
                  <a:lnTo>
                    <a:pt x="1605516" y="1143031"/>
                  </a:lnTo>
                  <a:cubicBezTo>
                    <a:pt x="1605516" y="1398454"/>
                    <a:pt x="1398454" y="1605516"/>
                    <a:pt x="1143031" y="1605516"/>
                  </a:cubicBezTo>
                  <a:lnTo>
                    <a:pt x="462485" y="1605516"/>
                  </a:lnTo>
                  <a:cubicBezTo>
                    <a:pt x="398629" y="1605516"/>
                    <a:pt x="337796" y="1592575"/>
                    <a:pt x="282465" y="1569172"/>
                  </a:cubicBezTo>
                  <a:lnTo>
                    <a:pt x="247202" y="1550031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84" y="1358313"/>
                  </a:lnTo>
                  <a:lnTo>
                    <a:pt x="36345" y="1323051"/>
                  </a:lnTo>
                  <a:cubicBezTo>
                    <a:pt x="12941" y="1267720"/>
                    <a:pt x="0" y="1206887"/>
                    <a:pt x="0" y="1143031"/>
                  </a:cubicBezTo>
                  <a:lnTo>
                    <a:pt x="0" y="462485"/>
                  </a:lnTo>
                  <a:cubicBezTo>
                    <a:pt x="0" y="334773"/>
                    <a:pt x="51765" y="219152"/>
                    <a:pt x="135459" y="1354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33" name="íṡ1ïḋé"/>
            <p:cNvSpPr/>
            <p:nvPr/>
          </p:nvSpPr>
          <p:spPr>
            <a:xfrm rot="2700000">
              <a:off x="6674883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7 w 1605516"/>
                <a:gd name="connsiteY7" fmla="*/ 1569179 h 1605516"/>
                <a:gd name="connsiteX8" fmla="*/ 247177 w 1605516"/>
                <a:gd name="connsiteY8" fmla="*/ 1550057 h 1605516"/>
                <a:gd name="connsiteX9" fmla="*/ 706899 w 1605516"/>
                <a:gd name="connsiteY9" fmla="*/ 1090335 h 1605516"/>
                <a:gd name="connsiteX10" fmla="*/ 802758 w 1605516"/>
                <a:gd name="connsiteY10" fmla="*/ 1186194 h 1605516"/>
                <a:gd name="connsiteX11" fmla="*/ 802758 w 1605516"/>
                <a:gd name="connsiteY11" fmla="*/ 802758 h 1605516"/>
                <a:gd name="connsiteX12" fmla="*/ 419322 w 1605516"/>
                <a:gd name="connsiteY12" fmla="*/ 802758 h 1605516"/>
                <a:gd name="connsiteX13" fmla="*/ 515181 w 1605516"/>
                <a:gd name="connsiteY13" fmla="*/ 898617 h 1605516"/>
                <a:gd name="connsiteX14" fmla="*/ 55459 w 1605516"/>
                <a:gd name="connsiteY14" fmla="*/ 1358339 h 1605516"/>
                <a:gd name="connsiteX15" fmla="*/ 36337 w 1605516"/>
                <a:gd name="connsiteY15" fmla="*/ 1323109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6" y="1605516"/>
                    <a:pt x="337726" y="1592577"/>
                    <a:pt x="282407" y="1569179"/>
                  </a:cubicBezTo>
                  <a:lnTo>
                    <a:pt x="247177" y="1550057"/>
                  </a:lnTo>
                  <a:lnTo>
                    <a:pt x="706899" y="1090335"/>
                  </a:lnTo>
                  <a:lnTo>
                    <a:pt x="802758" y="1186194"/>
                  </a:lnTo>
                  <a:lnTo>
                    <a:pt x="802758" y="802758"/>
                  </a:lnTo>
                  <a:lnTo>
                    <a:pt x="419322" y="802758"/>
                  </a:lnTo>
                  <a:lnTo>
                    <a:pt x="515181" y="898617"/>
                  </a:lnTo>
                  <a:lnTo>
                    <a:pt x="55459" y="1358339"/>
                  </a:lnTo>
                  <a:lnTo>
                    <a:pt x="36337" y="1323109"/>
                  </a:lnTo>
                  <a:cubicBezTo>
                    <a:pt x="12939" y="1267790"/>
                    <a:pt x="0" y="1206970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34" name="îṡlíḓè"/>
            <p:cNvSpPr/>
            <p:nvPr/>
          </p:nvSpPr>
          <p:spPr>
            <a:xfrm rot="2700000">
              <a:off x="9438167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6 w 1605516"/>
                <a:gd name="connsiteY7" fmla="*/ 1569179 h 1605516"/>
                <a:gd name="connsiteX8" fmla="*/ 247176 w 1605516"/>
                <a:gd name="connsiteY8" fmla="*/ 1550057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59 w 1605516"/>
                <a:gd name="connsiteY14" fmla="*/ 1358338 h 1605516"/>
                <a:gd name="connsiteX15" fmla="*/ 36337 w 1605516"/>
                <a:gd name="connsiteY15" fmla="*/ 1323110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7" y="1605516"/>
                    <a:pt x="337726" y="1592577"/>
                    <a:pt x="282406" y="1569179"/>
                  </a:cubicBezTo>
                  <a:lnTo>
                    <a:pt x="247176" y="1550057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59" y="1358338"/>
                  </a:lnTo>
                  <a:lnTo>
                    <a:pt x="36337" y="1323110"/>
                  </a:lnTo>
                  <a:cubicBezTo>
                    <a:pt x="12939" y="1267790"/>
                    <a:pt x="0" y="1206969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35" name="ï$1iḍe"/>
            <p:cNvSpPr txBox="1"/>
            <p:nvPr/>
          </p:nvSpPr>
          <p:spPr>
            <a:xfrm>
              <a:off x="738159" y="1491721"/>
              <a:ext cx="2687137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b="1" dirty="0"/>
                <a:t>进程控制</a:t>
              </a:r>
            </a:p>
          </p:txBody>
        </p:sp>
        <p:sp>
          <p:nvSpPr>
            <p:cNvPr id="36" name="isľîdê"/>
            <p:cNvSpPr txBox="1"/>
            <p:nvPr/>
          </p:nvSpPr>
          <p:spPr>
            <a:xfrm>
              <a:off x="837271" y="4127645"/>
              <a:ext cx="2287926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创建进程、撤消（终止）进程、状态转换</a:t>
              </a:r>
            </a:p>
          </p:txBody>
        </p:sp>
        <p:sp>
          <p:nvSpPr>
            <p:cNvPr id="37" name="íṩ1ïḑe"/>
            <p:cNvSpPr txBox="1"/>
            <p:nvPr/>
          </p:nvSpPr>
          <p:spPr>
            <a:xfrm>
              <a:off x="3077666" y="1464590"/>
              <a:ext cx="3316591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zh-CN" altLang="en-US" sz="2400" b="1" dirty="0">
                  <a:solidFill>
                    <a:srgbClr val="FF0000"/>
                  </a:solidFill>
                </a:rPr>
                <a:t>进程同步</a:t>
              </a:r>
            </a:p>
          </p:txBody>
        </p:sp>
        <p:sp>
          <p:nvSpPr>
            <p:cNvPr id="38" name="ïsḻiďê"/>
            <p:cNvSpPr txBox="1"/>
            <p:nvPr/>
          </p:nvSpPr>
          <p:spPr>
            <a:xfrm>
              <a:off x="6366706" y="1478156"/>
              <a:ext cx="235628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b="1" dirty="0"/>
                <a:t>进程通信</a:t>
              </a:r>
            </a:p>
          </p:txBody>
        </p:sp>
        <p:sp>
          <p:nvSpPr>
            <p:cNvPr id="39" name="isḷiḋé"/>
            <p:cNvSpPr txBox="1"/>
            <p:nvPr/>
          </p:nvSpPr>
          <p:spPr>
            <a:xfrm>
              <a:off x="8833059" y="1491721"/>
              <a:ext cx="3087022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b="1" dirty="0"/>
                <a:t>调度</a:t>
              </a:r>
            </a:p>
          </p:txBody>
        </p:sp>
        <p:sp>
          <p:nvSpPr>
            <p:cNvPr id="40" name="îṣḻidé"/>
            <p:cNvSpPr txBox="1"/>
            <p:nvPr/>
          </p:nvSpPr>
          <p:spPr>
            <a:xfrm>
              <a:off x="19606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1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41" name="ïŝ1ïḋè"/>
            <p:cNvSpPr txBox="1"/>
            <p:nvPr/>
          </p:nvSpPr>
          <p:spPr>
            <a:xfrm>
              <a:off x="4741597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2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42" name="í$lîdé"/>
            <p:cNvSpPr txBox="1"/>
            <p:nvPr/>
          </p:nvSpPr>
          <p:spPr>
            <a:xfrm>
              <a:off x="7522530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3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43" name="išḻïďè"/>
            <p:cNvSpPr txBox="1"/>
            <p:nvPr/>
          </p:nvSpPr>
          <p:spPr>
            <a:xfrm>
              <a:off x="103034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4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44" name="isľîdê"/>
            <p:cNvSpPr txBox="1"/>
            <p:nvPr/>
          </p:nvSpPr>
          <p:spPr>
            <a:xfrm>
              <a:off x="3540236" y="4127645"/>
              <a:ext cx="2276119" cy="85874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信号量机制</a:t>
              </a:r>
            </a:p>
          </p:txBody>
        </p:sp>
        <p:sp>
          <p:nvSpPr>
            <p:cNvPr id="45" name="isľîdê"/>
            <p:cNvSpPr txBox="1"/>
            <p:nvPr/>
          </p:nvSpPr>
          <p:spPr>
            <a:xfrm>
              <a:off x="6469394" y="4151140"/>
              <a:ext cx="2018637" cy="53145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直接通信、间接通信</a:t>
              </a:r>
            </a:p>
          </p:txBody>
        </p:sp>
        <p:sp>
          <p:nvSpPr>
            <p:cNvPr id="46" name="isľîdê"/>
            <p:cNvSpPr txBox="1"/>
            <p:nvPr/>
          </p:nvSpPr>
          <p:spPr>
            <a:xfrm>
              <a:off x="9430508" y="4151140"/>
              <a:ext cx="2369079" cy="83524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作业调度</a:t>
              </a:r>
            </a:p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进程调度</a:t>
              </a:r>
            </a:p>
          </p:txBody>
        </p:sp>
      </p:grp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存储器管理功能</a:t>
            </a:r>
          </a:p>
        </p:txBody>
      </p:sp>
      <p:grpSp>
        <p:nvGrpSpPr>
          <p:cNvPr id="21" name="2176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476743" y="1661773"/>
            <a:ext cx="11246981" cy="4124771"/>
            <a:chOff x="673100" y="1464590"/>
            <a:chExt cx="11246981" cy="4124771"/>
          </a:xfrm>
        </p:grpSpPr>
        <p:sp>
          <p:nvSpPr>
            <p:cNvPr id="22" name="ïsḷîḋê"/>
            <p:cNvSpPr/>
            <p:nvPr/>
          </p:nvSpPr>
          <p:spPr>
            <a:xfrm>
              <a:off x="673100" y="1929384"/>
              <a:ext cx="10845800" cy="2125980"/>
            </a:xfrm>
            <a:prstGeom prst="rightArrow">
              <a:avLst>
                <a:gd name="adj1" fmla="val 50000"/>
                <a:gd name="adj2" fmla="val 4225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3" name="ïṩḻíḑe"/>
            <p:cNvSpPr/>
            <p:nvPr/>
          </p:nvSpPr>
          <p:spPr>
            <a:xfrm rot="2700000">
              <a:off x="1148317" y="2189617"/>
              <a:ext cx="1605516" cy="1605516"/>
            </a:xfrm>
            <a:custGeom>
              <a:avLst/>
              <a:gdLst>
                <a:gd name="connsiteX0" fmla="*/ 135628 w 1605516"/>
                <a:gd name="connsiteY0" fmla="*/ 135628 h 1605516"/>
                <a:gd name="connsiteX1" fmla="*/ 463063 w 1605516"/>
                <a:gd name="connsiteY1" fmla="*/ 0 h 1605516"/>
                <a:gd name="connsiteX2" fmla="*/ 1142453 w 1605516"/>
                <a:gd name="connsiteY2" fmla="*/ 0 h 1605516"/>
                <a:gd name="connsiteX3" fmla="*/ 1605516 w 1605516"/>
                <a:gd name="connsiteY3" fmla="*/ 463063 h 1605516"/>
                <a:gd name="connsiteX4" fmla="*/ 1605516 w 1605516"/>
                <a:gd name="connsiteY4" fmla="*/ 1142453 h 1605516"/>
                <a:gd name="connsiteX5" fmla="*/ 1142453 w 1605516"/>
                <a:gd name="connsiteY5" fmla="*/ 1605516 h 1605516"/>
                <a:gd name="connsiteX6" fmla="*/ 463063 w 1605516"/>
                <a:gd name="connsiteY6" fmla="*/ 1605516 h 1605516"/>
                <a:gd name="connsiteX7" fmla="*/ 282818 w 1605516"/>
                <a:gd name="connsiteY7" fmla="*/ 1569126 h 1605516"/>
                <a:gd name="connsiteX8" fmla="*/ 247355 w 1605516"/>
                <a:gd name="connsiteY8" fmla="*/ 1549878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637 w 1605516"/>
                <a:gd name="connsiteY14" fmla="*/ 1358159 h 1605516"/>
                <a:gd name="connsiteX15" fmla="*/ 36390 w 1605516"/>
                <a:gd name="connsiteY15" fmla="*/ 1322698 h 1605516"/>
                <a:gd name="connsiteX16" fmla="*/ 0 w 1605516"/>
                <a:gd name="connsiteY16" fmla="*/ 1142453 h 1605516"/>
                <a:gd name="connsiteX17" fmla="*/ 0 w 1605516"/>
                <a:gd name="connsiteY17" fmla="*/ 463063 h 1605516"/>
                <a:gd name="connsiteX18" fmla="*/ 135628 w 1605516"/>
                <a:gd name="connsiteY18" fmla="*/ 135628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628" y="135628"/>
                  </a:moveTo>
                  <a:cubicBezTo>
                    <a:pt x="219426" y="51830"/>
                    <a:pt x="335192" y="0"/>
                    <a:pt x="463063" y="0"/>
                  </a:cubicBezTo>
                  <a:lnTo>
                    <a:pt x="1142453" y="0"/>
                  </a:lnTo>
                  <a:cubicBezTo>
                    <a:pt x="1398196" y="0"/>
                    <a:pt x="1605516" y="207320"/>
                    <a:pt x="1605516" y="463063"/>
                  </a:cubicBezTo>
                  <a:lnTo>
                    <a:pt x="1605516" y="1142453"/>
                  </a:lnTo>
                  <a:cubicBezTo>
                    <a:pt x="1605516" y="1398196"/>
                    <a:pt x="1398196" y="1605516"/>
                    <a:pt x="1142453" y="1605516"/>
                  </a:cubicBezTo>
                  <a:lnTo>
                    <a:pt x="463063" y="1605516"/>
                  </a:lnTo>
                  <a:cubicBezTo>
                    <a:pt x="399127" y="1605516"/>
                    <a:pt x="338218" y="1592559"/>
                    <a:pt x="282818" y="1569126"/>
                  </a:cubicBezTo>
                  <a:lnTo>
                    <a:pt x="247355" y="1549878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637" y="1358159"/>
                  </a:lnTo>
                  <a:lnTo>
                    <a:pt x="36390" y="1322698"/>
                  </a:lnTo>
                  <a:cubicBezTo>
                    <a:pt x="12957" y="1267298"/>
                    <a:pt x="0" y="1206389"/>
                    <a:pt x="0" y="1142453"/>
                  </a:cubicBezTo>
                  <a:lnTo>
                    <a:pt x="0" y="463063"/>
                  </a:lnTo>
                  <a:cubicBezTo>
                    <a:pt x="0" y="335192"/>
                    <a:pt x="51830" y="219426"/>
                    <a:pt x="135628" y="135628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24" name="is1íḑe"/>
            <p:cNvSpPr/>
            <p:nvPr/>
          </p:nvSpPr>
          <p:spPr>
            <a:xfrm rot="2700000">
              <a:off x="3911600" y="2189617"/>
              <a:ext cx="1605516" cy="1605516"/>
            </a:xfrm>
            <a:custGeom>
              <a:avLst/>
              <a:gdLst>
                <a:gd name="connsiteX0" fmla="*/ 135459 w 1605516"/>
                <a:gd name="connsiteY0" fmla="*/ 135459 h 1605516"/>
                <a:gd name="connsiteX1" fmla="*/ 462485 w 1605516"/>
                <a:gd name="connsiteY1" fmla="*/ 0 h 1605516"/>
                <a:gd name="connsiteX2" fmla="*/ 1143031 w 1605516"/>
                <a:gd name="connsiteY2" fmla="*/ 0 h 1605516"/>
                <a:gd name="connsiteX3" fmla="*/ 1605516 w 1605516"/>
                <a:gd name="connsiteY3" fmla="*/ 462485 h 1605516"/>
                <a:gd name="connsiteX4" fmla="*/ 1605516 w 1605516"/>
                <a:gd name="connsiteY4" fmla="*/ 1143031 h 1605516"/>
                <a:gd name="connsiteX5" fmla="*/ 1143031 w 1605516"/>
                <a:gd name="connsiteY5" fmla="*/ 1605516 h 1605516"/>
                <a:gd name="connsiteX6" fmla="*/ 462485 w 1605516"/>
                <a:gd name="connsiteY6" fmla="*/ 1605516 h 1605516"/>
                <a:gd name="connsiteX7" fmla="*/ 282465 w 1605516"/>
                <a:gd name="connsiteY7" fmla="*/ 1569172 h 1605516"/>
                <a:gd name="connsiteX8" fmla="*/ 247202 w 1605516"/>
                <a:gd name="connsiteY8" fmla="*/ 1550031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84 w 1605516"/>
                <a:gd name="connsiteY14" fmla="*/ 1358313 h 1605516"/>
                <a:gd name="connsiteX15" fmla="*/ 36345 w 1605516"/>
                <a:gd name="connsiteY15" fmla="*/ 1323051 h 1605516"/>
                <a:gd name="connsiteX16" fmla="*/ 0 w 1605516"/>
                <a:gd name="connsiteY16" fmla="*/ 1143031 h 1605516"/>
                <a:gd name="connsiteX17" fmla="*/ 0 w 1605516"/>
                <a:gd name="connsiteY17" fmla="*/ 462485 h 1605516"/>
                <a:gd name="connsiteX18" fmla="*/ 135459 w 1605516"/>
                <a:gd name="connsiteY18" fmla="*/ 135459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59" y="135459"/>
                  </a:moveTo>
                  <a:cubicBezTo>
                    <a:pt x="219152" y="51765"/>
                    <a:pt x="334773" y="0"/>
                    <a:pt x="462485" y="0"/>
                  </a:cubicBezTo>
                  <a:lnTo>
                    <a:pt x="1143031" y="0"/>
                  </a:lnTo>
                  <a:cubicBezTo>
                    <a:pt x="1398454" y="0"/>
                    <a:pt x="1605516" y="207062"/>
                    <a:pt x="1605516" y="462485"/>
                  </a:cubicBezTo>
                  <a:lnTo>
                    <a:pt x="1605516" y="1143031"/>
                  </a:lnTo>
                  <a:cubicBezTo>
                    <a:pt x="1605516" y="1398454"/>
                    <a:pt x="1398454" y="1605516"/>
                    <a:pt x="1143031" y="1605516"/>
                  </a:cubicBezTo>
                  <a:lnTo>
                    <a:pt x="462485" y="1605516"/>
                  </a:lnTo>
                  <a:cubicBezTo>
                    <a:pt x="398629" y="1605516"/>
                    <a:pt x="337796" y="1592575"/>
                    <a:pt x="282465" y="1569172"/>
                  </a:cubicBezTo>
                  <a:lnTo>
                    <a:pt x="247202" y="1550031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84" y="1358313"/>
                  </a:lnTo>
                  <a:lnTo>
                    <a:pt x="36345" y="1323051"/>
                  </a:lnTo>
                  <a:cubicBezTo>
                    <a:pt x="12941" y="1267720"/>
                    <a:pt x="0" y="1206887"/>
                    <a:pt x="0" y="1143031"/>
                  </a:cubicBezTo>
                  <a:lnTo>
                    <a:pt x="0" y="462485"/>
                  </a:lnTo>
                  <a:cubicBezTo>
                    <a:pt x="0" y="334773"/>
                    <a:pt x="51765" y="219152"/>
                    <a:pt x="135459" y="1354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5" name="íṡ1ïḋé"/>
            <p:cNvSpPr/>
            <p:nvPr/>
          </p:nvSpPr>
          <p:spPr>
            <a:xfrm rot="2700000">
              <a:off x="6674883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7 w 1605516"/>
                <a:gd name="connsiteY7" fmla="*/ 1569179 h 1605516"/>
                <a:gd name="connsiteX8" fmla="*/ 247177 w 1605516"/>
                <a:gd name="connsiteY8" fmla="*/ 1550057 h 1605516"/>
                <a:gd name="connsiteX9" fmla="*/ 706899 w 1605516"/>
                <a:gd name="connsiteY9" fmla="*/ 1090335 h 1605516"/>
                <a:gd name="connsiteX10" fmla="*/ 802758 w 1605516"/>
                <a:gd name="connsiteY10" fmla="*/ 1186194 h 1605516"/>
                <a:gd name="connsiteX11" fmla="*/ 802758 w 1605516"/>
                <a:gd name="connsiteY11" fmla="*/ 802758 h 1605516"/>
                <a:gd name="connsiteX12" fmla="*/ 419322 w 1605516"/>
                <a:gd name="connsiteY12" fmla="*/ 802758 h 1605516"/>
                <a:gd name="connsiteX13" fmla="*/ 515181 w 1605516"/>
                <a:gd name="connsiteY13" fmla="*/ 898617 h 1605516"/>
                <a:gd name="connsiteX14" fmla="*/ 55459 w 1605516"/>
                <a:gd name="connsiteY14" fmla="*/ 1358339 h 1605516"/>
                <a:gd name="connsiteX15" fmla="*/ 36337 w 1605516"/>
                <a:gd name="connsiteY15" fmla="*/ 1323109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6" y="1605516"/>
                    <a:pt x="337726" y="1592577"/>
                    <a:pt x="282407" y="1569179"/>
                  </a:cubicBezTo>
                  <a:lnTo>
                    <a:pt x="247177" y="1550057"/>
                  </a:lnTo>
                  <a:lnTo>
                    <a:pt x="706899" y="1090335"/>
                  </a:lnTo>
                  <a:lnTo>
                    <a:pt x="802758" y="1186194"/>
                  </a:lnTo>
                  <a:lnTo>
                    <a:pt x="802758" y="802758"/>
                  </a:lnTo>
                  <a:lnTo>
                    <a:pt x="419322" y="802758"/>
                  </a:lnTo>
                  <a:lnTo>
                    <a:pt x="515181" y="898617"/>
                  </a:lnTo>
                  <a:lnTo>
                    <a:pt x="55459" y="1358339"/>
                  </a:lnTo>
                  <a:lnTo>
                    <a:pt x="36337" y="1323109"/>
                  </a:lnTo>
                  <a:cubicBezTo>
                    <a:pt x="12939" y="1267790"/>
                    <a:pt x="0" y="1206970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26" name="îṡlíḓè"/>
            <p:cNvSpPr/>
            <p:nvPr/>
          </p:nvSpPr>
          <p:spPr>
            <a:xfrm rot="2700000">
              <a:off x="9438167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6 w 1605516"/>
                <a:gd name="connsiteY7" fmla="*/ 1569179 h 1605516"/>
                <a:gd name="connsiteX8" fmla="*/ 247176 w 1605516"/>
                <a:gd name="connsiteY8" fmla="*/ 1550057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59 w 1605516"/>
                <a:gd name="connsiteY14" fmla="*/ 1358338 h 1605516"/>
                <a:gd name="connsiteX15" fmla="*/ 36337 w 1605516"/>
                <a:gd name="connsiteY15" fmla="*/ 1323110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7" y="1605516"/>
                    <a:pt x="337726" y="1592577"/>
                    <a:pt x="282406" y="1569179"/>
                  </a:cubicBezTo>
                  <a:lnTo>
                    <a:pt x="247176" y="1550057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59" y="1358338"/>
                  </a:lnTo>
                  <a:lnTo>
                    <a:pt x="36337" y="1323110"/>
                  </a:lnTo>
                  <a:cubicBezTo>
                    <a:pt x="12939" y="1267790"/>
                    <a:pt x="0" y="1206969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27" name="ï$1iḍe"/>
            <p:cNvSpPr txBox="1"/>
            <p:nvPr/>
          </p:nvSpPr>
          <p:spPr>
            <a:xfrm>
              <a:off x="738159" y="1491721"/>
              <a:ext cx="2687137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b="1" dirty="0"/>
                <a:t>内存分配和回收</a:t>
              </a:r>
            </a:p>
          </p:txBody>
        </p:sp>
        <p:sp>
          <p:nvSpPr>
            <p:cNvPr id="28" name="isľîdê"/>
            <p:cNvSpPr txBox="1"/>
            <p:nvPr/>
          </p:nvSpPr>
          <p:spPr>
            <a:xfrm>
              <a:off x="837271" y="4127645"/>
              <a:ext cx="2287926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/>
                <a:t>内存分配</a:t>
              </a:r>
            </a:p>
            <a:p>
              <a:pPr>
                <a:lnSpc>
                  <a:spcPct val="120000"/>
                </a:lnSpc>
                <a:buClr>
                  <a:srgbClr val="FF0000"/>
                </a:buClr>
              </a:pPr>
              <a:r>
                <a:rPr lang="zh-CN" altLang="en-US" sz="2200" dirty="0"/>
                <a:t>（静态分配和动  </a:t>
              </a:r>
              <a:endParaRPr lang="en-US" altLang="zh-CN" sz="2200" dirty="0"/>
            </a:p>
            <a:p>
              <a:pPr>
                <a:lnSpc>
                  <a:spcPct val="120000"/>
                </a:lnSpc>
                <a:buClr>
                  <a:srgbClr val="FF0000"/>
                </a:buClr>
              </a:pPr>
              <a:r>
                <a:rPr lang="zh-CN" altLang="en-US" sz="2200" dirty="0"/>
                <a:t>态分配）</a:t>
              </a:r>
            </a:p>
          </p:txBody>
        </p:sp>
        <p:sp>
          <p:nvSpPr>
            <p:cNvPr id="47" name="íṩ1ïḑe"/>
            <p:cNvSpPr txBox="1"/>
            <p:nvPr/>
          </p:nvSpPr>
          <p:spPr>
            <a:xfrm>
              <a:off x="3077666" y="1464590"/>
              <a:ext cx="3316591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zh-CN" altLang="en-US" sz="2400" b="1" dirty="0"/>
                <a:t>内存保护</a:t>
              </a:r>
            </a:p>
          </p:txBody>
        </p:sp>
        <p:sp>
          <p:nvSpPr>
            <p:cNvPr id="48" name="ïsḻiďê"/>
            <p:cNvSpPr txBox="1"/>
            <p:nvPr/>
          </p:nvSpPr>
          <p:spPr>
            <a:xfrm>
              <a:off x="6366706" y="1478156"/>
              <a:ext cx="235628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b="1" dirty="0"/>
                <a:t>地址映射</a:t>
              </a:r>
            </a:p>
          </p:txBody>
        </p:sp>
        <p:sp>
          <p:nvSpPr>
            <p:cNvPr id="49" name="isḷiḋé"/>
            <p:cNvSpPr txBox="1"/>
            <p:nvPr/>
          </p:nvSpPr>
          <p:spPr>
            <a:xfrm>
              <a:off x="8656120" y="1491721"/>
              <a:ext cx="3263961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b="1" dirty="0"/>
                <a:t>内存扩充</a:t>
              </a:r>
              <a:br>
                <a:rPr lang="en-US" altLang="zh-CN" sz="2400" b="1" dirty="0"/>
              </a:br>
              <a:r>
                <a:rPr lang="zh-CN" altLang="en-US" sz="2400" b="1" dirty="0">
                  <a:solidFill>
                    <a:srgbClr val="FF0000"/>
                  </a:solidFill>
                </a:rPr>
                <a:t>（虚拟存储技术）</a:t>
              </a:r>
            </a:p>
          </p:txBody>
        </p:sp>
        <p:sp>
          <p:nvSpPr>
            <p:cNvPr id="50" name="îṣḻidé"/>
            <p:cNvSpPr txBox="1"/>
            <p:nvPr/>
          </p:nvSpPr>
          <p:spPr>
            <a:xfrm>
              <a:off x="19606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1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51" name="ïŝ1ïḋè"/>
            <p:cNvSpPr txBox="1"/>
            <p:nvPr/>
          </p:nvSpPr>
          <p:spPr>
            <a:xfrm>
              <a:off x="4741597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2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52" name="í$lîdé"/>
            <p:cNvSpPr txBox="1"/>
            <p:nvPr/>
          </p:nvSpPr>
          <p:spPr>
            <a:xfrm>
              <a:off x="7522530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3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53" name="išḻïďè"/>
            <p:cNvSpPr txBox="1"/>
            <p:nvPr/>
          </p:nvSpPr>
          <p:spPr>
            <a:xfrm>
              <a:off x="103034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4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54" name="isľîdê"/>
            <p:cNvSpPr txBox="1"/>
            <p:nvPr/>
          </p:nvSpPr>
          <p:spPr>
            <a:xfrm>
              <a:off x="2996169" y="4100515"/>
              <a:ext cx="3330521" cy="85874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/>
                <a:t>确保每个用户程序仅在自己的内存空间运行</a:t>
              </a:r>
            </a:p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/>
                <a:t>绝不允许用户程序访问操作系统的程序和数据</a:t>
              </a:r>
            </a:p>
          </p:txBody>
        </p:sp>
        <p:sp>
          <p:nvSpPr>
            <p:cNvPr id="55" name="isľîdê"/>
            <p:cNvSpPr txBox="1"/>
            <p:nvPr/>
          </p:nvSpPr>
          <p:spPr>
            <a:xfrm>
              <a:off x="6469394" y="4151140"/>
              <a:ext cx="2363665" cy="53145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/>
                <a:t>逻辑地址转换为物理地址</a:t>
              </a:r>
            </a:p>
          </p:txBody>
        </p:sp>
        <p:sp>
          <p:nvSpPr>
            <p:cNvPr id="56" name="isľîdê"/>
            <p:cNvSpPr txBox="1"/>
            <p:nvPr/>
          </p:nvSpPr>
          <p:spPr>
            <a:xfrm>
              <a:off x="9430508" y="4151140"/>
              <a:ext cx="2369079" cy="83524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/>
                <a:t>请求调入功能</a:t>
              </a:r>
            </a:p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/>
                <a:t>置换功能</a:t>
              </a:r>
            </a:p>
          </p:txBody>
        </p:sp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设备管理功能</a:t>
            </a:r>
          </a:p>
        </p:txBody>
      </p:sp>
      <p:sp>
        <p:nvSpPr>
          <p:cNvPr id="40" name="ïṣḻïḍe"/>
          <p:cNvSpPr txBox="1"/>
          <p:nvPr/>
        </p:nvSpPr>
        <p:spPr>
          <a:xfrm>
            <a:off x="660400" y="1851367"/>
            <a:ext cx="10858500" cy="64856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buSzPct val="25000"/>
            </a:pPr>
            <a:r>
              <a:rPr lang="zh-CN" altLang="en-US" sz="2400" b="1" dirty="0"/>
              <a:t>主要任务：</a:t>
            </a:r>
            <a:r>
              <a:rPr lang="en-US" altLang="zh-CN" sz="2400" b="1" dirty="0"/>
              <a:t>(1)</a:t>
            </a:r>
            <a:r>
              <a:rPr lang="zh-CN" altLang="en-US" sz="2400" b="1" dirty="0"/>
              <a:t>完成</a:t>
            </a:r>
            <a:r>
              <a:rPr lang="en-US" altLang="zh-CN" sz="2400" b="1" dirty="0"/>
              <a:t>I/O</a:t>
            </a:r>
            <a:r>
              <a:rPr lang="zh-CN" altLang="en-US" sz="2400" b="1" dirty="0"/>
              <a:t>请求；</a:t>
            </a:r>
            <a:r>
              <a:rPr lang="en-US" altLang="zh-CN" sz="2400" b="1" dirty="0"/>
              <a:t>(2)</a:t>
            </a:r>
            <a:r>
              <a:rPr lang="zh-CN" altLang="en-US" sz="2400" b="1" dirty="0"/>
              <a:t>提高</a:t>
            </a:r>
            <a:r>
              <a:rPr lang="en-US" altLang="zh-CN" sz="2400" b="1" dirty="0"/>
              <a:t>CPU</a:t>
            </a:r>
            <a:r>
              <a:rPr lang="zh-CN" altLang="en-US" sz="2400" b="1" dirty="0"/>
              <a:t>和</a:t>
            </a:r>
            <a:r>
              <a:rPr lang="en-US" altLang="zh-CN" sz="2400" b="1" dirty="0"/>
              <a:t>I/O</a:t>
            </a:r>
            <a:r>
              <a:rPr lang="zh-CN" altLang="en-US" sz="2400" b="1" dirty="0"/>
              <a:t>设备的利用率。</a:t>
            </a:r>
          </a:p>
        </p:txBody>
      </p:sp>
      <p:sp>
        <p:nvSpPr>
          <p:cNvPr id="42" name="ïṩḷiďè"/>
          <p:cNvSpPr/>
          <p:nvPr/>
        </p:nvSpPr>
        <p:spPr>
          <a:xfrm>
            <a:off x="0" y="2858696"/>
            <a:ext cx="12192000" cy="1420426"/>
          </a:xfrm>
          <a:prstGeom prst="rect">
            <a:avLst/>
          </a:prstGeom>
          <a:blipFill>
            <a:blip r:embed="rId2"/>
            <a:srcRect/>
            <a:stretch>
              <a:fillRect t="-193116" b="-189697"/>
            </a:stretch>
          </a:blipFill>
          <a:ln w="12700" cap="flat" cmpd="sng" algn="ctr">
            <a:noFill/>
            <a:prstDash val="solid"/>
            <a:miter lim="800000"/>
          </a:ln>
          <a:effectLst>
            <a:outerShdw dist="38100" dir="5400000" algn="t" rotWithShape="0">
              <a:prstClr val="black">
                <a:alpha val="15000"/>
              </a:prstClr>
            </a:outerShdw>
          </a:effectLst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zh-CN" altLang="en-US" dirty="0"/>
          </a:p>
        </p:txBody>
      </p:sp>
      <p:grpSp>
        <p:nvGrpSpPr>
          <p:cNvPr id="43" name="işḷiḍè"/>
          <p:cNvGrpSpPr/>
          <p:nvPr/>
        </p:nvGrpSpPr>
        <p:grpSpPr>
          <a:xfrm>
            <a:off x="660401" y="2907523"/>
            <a:ext cx="2899546" cy="2669028"/>
            <a:chOff x="660401" y="2173427"/>
            <a:chExt cx="2899546" cy="2669028"/>
          </a:xfrm>
        </p:grpSpPr>
        <p:sp>
          <p:nvSpPr>
            <p:cNvPr id="44" name="iṣḻîďé"/>
            <p:cNvSpPr/>
            <p:nvPr/>
          </p:nvSpPr>
          <p:spPr>
            <a:xfrm>
              <a:off x="1448788" y="2173427"/>
              <a:ext cx="1322773" cy="1322773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19050" cap="rnd">
              <a:solidFill>
                <a:schemeClr val="bg1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 defTabSz="914400"/>
              <a:r>
                <a:rPr lang="en-US" altLang="zh-CN" sz="3200" dirty="0">
                  <a:solidFill>
                    <a:schemeClr val="bg1"/>
                  </a:solidFill>
                </a:rPr>
                <a:t>01</a:t>
              </a:r>
              <a:endParaRPr lang="zh-CN" altLang="en-US" sz="3200" dirty="0">
                <a:solidFill>
                  <a:schemeClr val="bg1"/>
                </a:solidFill>
              </a:endParaRPr>
            </a:p>
          </p:txBody>
        </p:sp>
        <p:grpSp>
          <p:nvGrpSpPr>
            <p:cNvPr id="45" name="ïSľíḍè"/>
            <p:cNvGrpSpPr/>
            <p:nvPr/>
          </p:nvGrpSpPr>
          <p:grpSpPr>
            <a:xfrm>
              <a:off x="660401" y="3711634"/>
              <a:ext cx="2899546" cy="1130821"/>
              <a:chOff x="1137237" y="3711634"/>
              <a:chExt cx="3492591" cy="1130821"/>
            </a:xfrm>
          </p:grpSpPr>
          <p:sp>
            <p:nvSpPr>
              <p:cNvPr id="46" name="îśľîḍé"/>
              <p:cNvSpPr/>
              <p:nvPr/>
            </p:nvSpPr>
            <p:spPr bwMode="auto">
              <a:xfrm>
                <a:off x="1683430" y="4201332"/>
                <a:ext cx="2400204" cy="64112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2400" dirty="0"/>
                  <a:t>缓冲区机制</a:t>
                </a:r>
              </a:p>
            </p:txBody>
          </p:sp>
          <p:sp>
            <p:nvSpPr>
              <p:cNvPr id="57" name="iṧľiḑé"/>
              <p:cNvSpPr/>
              <p:nvPr/>
            </p:nvSpPr>
            <p:spPr>
              <a:xfrm>
                <a:off x="1137237" y="3711634"/>
                <a:ext cx="3492591" cy="489700"/>
              </a:xfrm>
              <a:prstGeom prst="rect">
                <a:avLst/>
              </a:prstGeom>
              <a:noFill/>
              <a:ln w="3175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zh-CN" altLang="en-US" sz="2400" b="1" dirty="0">
                    <a:solidFill>
                      <a:srgbClr val="FF0000"/>
                    </a:solidFill>
                  </a:rPr>
                  <a:t>缓冲管理</a:t>
                </a:r>
              </a:p>
            </p:txBody>
          </p:sp>
        </p:grpSp>
      </p:grpSp>
      <p:grpSp>
        <p:nvGrpSpPr>
          <p:cNvPr id="58" name="ïsļïḋê"/>
          <p:cNvGrpSpPr/>
          <p:nvPr/>
        </p:nvGrpSpPr>
        <p:grpSpPr>
          <a:xfrm>
            <a:off x="4639877" y="2907523"/>
            <a:ext cx="2899546" cy="2027907"/>
            <a:chOff x="660401" y="2173427"/>
            <a:chExt cx="2899546" cy="2027907"/>
          </a:xfrm>
        </p:grpSpPr>
        <p:sp>
          <p:nvSpPr>
            <p:cNvPr id="59" name="íSḷiḑê"/>
            <p:cNvSpPr/>
            <p:nvPr/>
          </p:nvSpPr>
          <p:spPr>
            <a:xfrm>
              <a:off x="1448788" y="2173427"/>
              <a:ext cx="1322773" cy="1322773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19050" cap="rnd">
              <a:solidFill>
                <a:schemeClr val="bg1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 defTabSz="914400"/>
              <a:r>
                <a:rPr lang="en-US" altLang="zh-CN" sz="3200" dirty="0">
                  <a:solidFill>
                    <a:schemeClr val="bg1"/>
                  </a:solidFill>
                </a:rPr>
                <a:t>02</a:t>
              </a:r>
              <a:endParaRPr lang="zh-CN" altLang="en-US" sz="3200" dirty="0">
                <a:solidFill>
                  <a:schemeClr val="bg1"/>
                </a:solidFill>
              </a:endParaRPr>
            </a:p>
          </p:txBody>
        </p:sp>
        <p:sp>
          <p:nvSpPr>
            <p:cNvPr id="62" name="í$ḻïḍe"/>
            <p:cNvSpPr/>
            <p:nvPr/>
          </p:nvSpPr>
          <p:spPr>
            <a:xfrm>
              <a:off x="660401" y="3711634"/>
              <a:ext cx="2899546" cy="489700"/>
            </a:xfrm>
            <a:prstGeom prst="rect">
              <a:avLst/>
            </a:prstGeom>
            <a:noFill/>
            <a:ln w="3175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2400" b="1" dirty="0">
                  <a:solidFill>
                    <a:schemeClr val="tx1"/>
                  </a:solidFill>
                </a:rPr>
                <a:t>设备分配</a:t>
              </a:r>
            </a:p>
          </p:txBody>
        </p:sp>
      </p:grpSp>
      <p:grpSp>
        <p:nvGrpSpPr>
          <p:cNvPr id="63" name="ísľïḍè"/>
          <p:cNvGrpSpPr/>
          <p:nvPr/>
        </p:nvGrpSpPr>
        <p:grpSpPr>
          <a:xfrm>
            <a:off x="8619354" y="2907523"/>
            <a:ext cx="3439511" cy="2669028"/>
            <a:chOff x="660401" y="2173427"/>
            <a:chExt cx="3439511" cy="2669028"/>
          </a:xfrm>
        </p:grpSpPr>
        <p:sp>
          <p:nvSpPr>
            <p:cNvPr id="64" name="îśḷíḍe"/>
            <p:cNvSpPr/>
            <p:nvPr/>
          </p:nvSpPr>
          <p:spPr>
            <a:xfrm>
              <a:off x="1448788" y="2173427"/>
              <a:ext cx="1322773" cy="1322773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19050" cap="rnd">
              <a:solidFill>
                <a:schemeClr val="bg1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 defTabSz="914400"/>
              <a:r>
                <a:rPr lang="en-US" altLang="zh-CN" sz="3200" dirty="0">
                  <a:solidFill>
                    <a:schemeClr val="bg1"/>
                  </a:solidFill>
                </a:rPr>
                <a:t>03</a:t>
              </a:r>
              <a:endParaRPr lang="zh-CN" altLang="en-US" sz="3200" dirty="0">
                <a:solidFill>
                  <a:schemeClr val="bg1"/>
                </a:solidFill>
              </a:endParaRPr>
            </a:p>
          </p:txBody>
        </p:sp>
        <p:grpSp>
          <p:nvGrpSpPr>
            <p:cNvPr id="65" name="iṥlîdè"/>
            <p:cNvGrpSpPr/>
            <p:nvPr/>
          </p:nvGrpSpPr>
          <p:grpSpPr>
            <a:xfrm>
              <a:off x="660401" y="3711634"/>
              <a:ext cx="3439511" cy="1130821"/>
              <a:chOff x="1137237" y="3711634"/>
              <a:chExt cx="4142995" cy="1130821"/>
            </a:xfrm>
          </p:grpSpPr>
          <p:sp>
            <p:nvSpPr>
              <p:cNvPr id="66" name="ïṣļiḍe"/>
              <p:cNvSpPr/>
              <p:nvPr/>
            </p:nvSpPr>
            <p:spPr bwMode="auto">
              <a:xfrm>
                <a:off x="1787641" y="4111180"/>
                <a:ext cx="3492591" cy="73127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2400" dirty="0"/>
                  <a:t>设备驱动程序</a:t>
                </a:r>
              </a:p>
            </p:txBody>
          </p:sp>
          <p:sp>
            <p:nvSpPr>
              <p:cNvPr id="67" name="iṧḷiḓê"/>
              <p:cNvSpPr/>
              <p:nvPr/>
            </p:nvSpPr>
            <p:spPr>
              <a:xfrm>
                <a:off x="1137237" y="3711634"/>
                <a:ext cx="3492591" cy="489700"/>
              </a:xfrm>
              <a:prstGeom prst="rect">
                <a:avLst/>
              </a:prstGeom>
              <a:noFill/>
              <a:ln w="3175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zh-CN" altLang="en-US" sz="2400" b="1" dirty="0">
                    <a:solidFill>
                      <a:schemeClr val="tx1"/>
                    </a:solidFill>
                  </a:rPr>
                  <a:t>设备处理</a:t>
                </a:r>
              </a:p>
            </p:txBody>
          </p:sp>
        </p:grpSp>
      </p:grpSp>
      <p:cxnSp>
        <p:nvCxnSpPr>
          <p:cNvPr id="68" name="直接连接符 67"/>
          <p:cNvCxnSpPr/>
          <p:nvPr/>
        </p:nvCxnSpPr>
        <p:spPr>
          <a:xfrm>
            <a:off x="4183062" y="4640624"/>
            <a:ext cx="0" cy="641123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接连接符 68"/>
          <p:cNvCxnSpPr/>
          <p:nvPr/>
        </p:nvCxnSpPr>
        <p:spPr>
          <a:xfrm>
            <a:off x="8066509" y="4640624"/>
            <a:ext cx="0" cy="641123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文件管理功能</a:t>
            </a:r>
          </a:p>
        </p:txBody>
      </p:sp>
      <p:grpSp>
        <p:nvGrpSpPr>
          <p:cNvPr id="21" name="18592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47353" y="1335678"/>
            <a:ext cx="11197804" cy="4734027"/>
            <a:chOff x="537828" y="1181131"/>
            <a:chExt cx="11197804" cy="4734027"/>
          </a:xfrm>
        </p:grpSpPr>
        <p:sp>
          <p:nvSpPr>
            <p:cNvPr id="22" name="íṥḻîḑe"/>
            <p:cNvSpPr/>
            <p:nvPr/>
          </p:nvSpPr>
          <p:spPr>
            <a:xfrm>
              <a:off x="682048" y="1580300"/>
              <a:ext cx="3476055" cy="2567583"/>
            </a:xfrm>
            <a:prstGeom prst="rect">
              <a:avLst/>
            </a:prstGeom>
            <a:blipFill>
              <a:blip r:embed="rId3"/>
              <a:srcRect/>
              <a:stretch>
                <a:fillRect t="-17779" b="-17603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3" name="ïşḻiḍé"/>
            <p:cNvSpPr/>
            <p:nvPr/>
          </p:nvSpPr>
          <p:spPr>
            <a:xfrm>
              <a:off x="537828" y="4038996"/>
              <a:ext cx="3661464" cy="1670100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2400" dirty="0">
                  <a:solidFill>
                    <a:schemeClr val="tx1"/>
                  </a:solidFill>
                </a:rPr>
                <a:t>文件（</a:t>
              </a:r>
              <a:r>
                <a:rPr lang="zh-CN" altLang="en-US" sz="2400" dirty="0">
                  <a:solidFill>
                    <a:srgbClr val="0000FF"/>
                  </a:solidFill>
                </a:rPr>
                <a:t>用户文件和系统文件</a:t>
              </a:r>
              <a:r>
                <a:rPr lang="zh-CN" altLang="en-US" sz="2400" dirty="0">
                  <a:solidFill>
                    <a:schemeClr val="tx1"/>
                  </a:solidFill>
                </a:rPr>
                <a:t>）存储空间的管理</a:t>
              </a:r>
              <a:endParaRPr lang="en-US" altLang="zh-CN" sz="2400" dirty="0">
                <a:solidFill>
                  <a:schemeClr val="tx1"/>
                </a:solidFill>
              </a:endParaRPr>
            </a:p>
            <a:p>
              <a:pPr marL="342900" indent="-342900">
                <a:lnSpc>
                  <a:spcPct val="150000"/>
                </a:lnSpc>
                <a:buFont typeface="Wingdings" panose="05000000000000000000" pitchFamily="2" charset="2"/>
                <a:buChar char="p"/>
              </a:pPr>
              <a:r>
                <a:rPr lang="zh-CN" altLang="en-US" sz="2400" dirty="0">
                  <a:solidFill>
                    <a:srgbClr val="0000FF"/>
                  </a:solidFill>
                </a:rPr>
                <a:t>为每个文件分配必要的外存空间</a:t>
              </a:r>
              <a:endParaRPr lang="en-US" altLang="zh-CN" sz="2400" dirty="0">
                <a:solidFill>
                  <a:srgbClr val="0000FF"/>
                </a:solidFill>
              </a:endParaRPr>
            </a:p>
            <a:p>
              <a:pPr marL="342900" indent="-342900">
                <a:lnSpc>
                  <a:spcPct val="150000"/>
                </a:lnSpc>
                <a:buFont typeface="Wingdings" panose="05000000000000000000" pitchFamily="2" charset="2"/>
                <a:buChar char="p"/>
              </a:pPr>
              <a:r>
                <a:rPr lang="zh-CN" altLang="en-US" sz="2400" dirty="0">
                  <a:solidFill>
                    <a:srgbClr val="0000FF"/>
                  </a:solidFill>
                </a:rPr>
                <a:t>压缩文件</a:t>
              </a:r>
            </a:p>
            <a:p>
              <a:pPr>
                <a:lnSpc>
                  <a:spcPct val="150000"/>
                </a:lnSpc>
              </a:pPr>
              <a:endParaRPr lang="zh-CN" altLang="en-US" sz="2400" dirty="0">
                <a:solidFill>
                  <a:schemeClr val="tx1"/>
                </a:solidFill>
              </a:endParaRPr>
            </a:p>
          </p:txBody>
        </p:sp>
        <p:sp>
          <p:nvSpPr>
            <p:cNvPr id="24" name="îŝļiḋe"/>
            <p:cNvSpPr/>
            <p:nvPr/>
          </p:nvSpPr>
          <p:spPr>
            <a:xfrm>
              <a:off x="4352677" y="1580300"/>
              <a:ext cx="3476055" cy="2567583"/>
            </a:xfrm>
            <a:prstGeom prst="rect">
              <a:avLst/>
            </a:prstGeom>
            <a:blipFill>
              <a:blip r:embed="rId4"/>
              <a:srcRect/>
              <a:stretch>
                <a:fillRect t="-50445" b="-49949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5" name="ïšlïḑè"/>
            <p:cNvSpPr/>
            <p:nvPr/>
          </p:nvSpPr>
          <p:spPr>
            <a:xfrm>
              <a:off x="4331029" y="4245058"/>
              <a:ext cx="3517243" cy="1670100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rmAutofit/>
            </a:bodyPr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2400" dirty="0">
                  <a:solidFill>
                    <a:srgbClr val="0000FF"/>
                  </a:solidFill>
                </a:rPr>
                <a:t>目录管理</a:t>
              </a:r>
              <a:endParaRPr lang="en-US" altLang="zh-CN" sz="2400" dirty="0">
                <a:solidFill>
                  <a:srgbClr val="0000FF"/>
                </a:solidFill>
              </a:endParaRPr>
            </a:p>
            <a:p>
              <a:pPr marL="800100" lvl="1" indent="-342900">
                <a:lnSpc>
                  <a:spcPct val="150000"/>
                </a:lnSpc>
                <a:buClr>
                  <a:srgbClr val="0000FF"/>
                </a:buClr>
                <a:buFont typeface="Wingdings" panose="05000000000000000000" pitchFamily="2" charset="2"/>
                <a:buChar char="p"/>
              </a:pPr>
              <a:r>
                <a:rPr lang="zh-CN" altLang="en-US" sz="2400" dirty="0">
                  <a:solidFill>
                    <a:srgbClr val="0000FF"/>
                  </a:solidFill>
                </a:rPr>
                <a:t>按名存取</a:t>
              </a:r>
            </a:p>
          </p:txBody>
        </p:sp>
        <p:sp>
          <p:nvSpPr>
            <p:cNvPr id="26" name="íŝḻiďé"/>
            <p:cNvSpPr/>
            <p:nvPr/>
          </p:nvSpPr>
          <p:spPr>
            <a:xfrm>
              <a:off x="8023305" y="1580300"/>
              <a:ext cx="3712327" cy="2567583"/>
            </a:xfrm>
            <a:prstGeom prst="rect">
              <a:avLst/>
            </a:prstGeom>
            <a:blipFill>
              <a:blip r:embed="rId5"/>
              <a:srcRect/>
              <a:stretch>
                <a:fillRect l="-5418" r="-5379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7" name="í$ḷîḋe"/>
            <p:cNvSpPr/>
            <p:nvPr/>
          </p:nvSpPr>
          <p:spPr>
            <a:xfrm>
              <a:off x="8001657" y="4245058"/>
              <a:ext cx="3733975" cy="1670100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marL="342900" indent="-342900">
                <a:lnSpc>
                  <a:spcPct val="130000"/>
                </a:lnSpc>
                <a:buClr>
                  <a:srgbClr val="0000FF"/>
                </a:buClr>
                <a:buFont typeface="Arial" panose="020B0604020202020204" pitchFamily="34" charset="0"/>
                <a:buChar char="•"/>
              </a:pPr>
              <a:r>
                <a:rPr lang="zh-CN" altLang="en-US" sz="2400" dirty="0">
                  <a:solidFill>
                    <a:srgbClr val="0000FF"/>
                  </a:solidFill>
                </a:rPr>
                <a:t>文件的读</a:t>
              </a:r>
              <a:r>
                <a:rPr lang="en-US" altLang="zh-CN" sz="2400" dirty="0">
                  <a:solidFill>
                    <a:srgbClr val="0000FF"/>
                  </a:solidFill>
                </a:rPr>
                <a:t>/</a:t>
              </a:r>
              <a:r>
                <a:rPr lang="zh-CN" altLang="en-US" sz="2400" dirty="0">
                  <a:solidFill>
                    <a:srgbClr val="0000FF"/>
                  </a:solidFill>
                </a:rPr>
                <a:t>写管理和保护</a:t>
              </a:r>
              <a:endParaRPr lang="en-US" altLang="zh-CN" sz="2400" dirty="0">
                <a:solidFill>
                  <a:srgbClr val="0000FF"/>
                </a:solidFill>
              </a:endParaRPr>
            </a:p>
            <a:p>
              <a:pPr marL="742950" lvl="1" indent="-285750">
                <a:lnSpc>
                  <a:spcPct val="130000"/>
                </a:lnSpc>
                <a:buClr>
                  <a:srgbClr val="0000FF"/>
                </a:buClr>
                <a:buFont typeface="Wingdings" panose="05000000000000000000" pitchFamily="2" charset="2"/>
                <a:buChar char="p"/>
              </a:pPr>
              <a:r>
                <a:rPr lang="zh-CN" altLang="en-US" sz="2400" dirty="0">
                  <a:solidFill>
                    <a:schemeClr val="tx1"/>
                  </a:solidFill>
                </a:rPr>
                <a:t>文件的读</a:t>
              </a:r>
              <a:r>
                <a:rPr lang="en-US" altLang="zh-CN" sz="2400" dirty="0">
                  <a:solidFill>
                    <a:schemeClr val="tx1"/>
                  </a:solidFill>
                </a:rPr>
                <a:t>/</a:t>
              </a:r>
              <a:r>
                <a:rPr lang="zh-CN" altLang="en-US" sz="2400" dirty="0">
                  <a:solidFill>
                    <a:schemeClr val="tx1"/>
                  </a:solidFill>
                </a:rPr>
                <a:t>写管理</a:t>
              </a:r>
            </a:p>
            <a:p>
              <a:pPr marL="742950" lvl="1" indent="-285750">
                <a:lnSpc>
                  <a:spcPct val="130000"/>
                </a:lnSpc>
                <a:buClr>
                  <a:srgbClr val="0000FF"/>
                </a:buClr>
                <a:buFont typeface="Wingdings" panose="05000000000000000000" pitchFamily="2" charset="2"/>
                <a:buChar char="p"/>
              </a:pPr>
              <a:r>
                <a:rPr lang="zh-CN" altLang="en-US" sz="2400" dirty="0">
                  <a:solidFill>
                    <a:schemeClr val="tx1"/>
                  </a:solidFill>
                </a:rPr>
                <a:t>文件保护</a:t>
              </a:r>
            </a:p>
          </p:txBody>
        </p:sp>
        <p:sp>
          <p:nvSpPr>
            <p:cNvPr id="28" name="ï$lïďè"/>
            <p:cNvSpPr/>
            <p:nvPr/>
          </p:nvSpPr>
          <p:spPr bwMode="auto">
            <a:xfrm>
              <a:off x="2253506" y="1181131"/>
              <a:ext cx="333138" cy="310404"/>
            </a:xfrm>
            <a:custGeom>
              <a:avLst/>
              <a:gdLst>
                <a:gd name="connsiteX0" fmla="*/ 484855 w 606016"/>
                <a:gd name="connsiteY0" fmla="*/ 473988 h 564664"/>
                <a:gd name="connsiteX1" fmla="*/ 505037 w 606016"/>
                <a:gd name="connsiteY1" fmla="*/ 494170 h 564664"/>
                <a:gd name="connsiteX2" fmla="*/ 484855 w 606016"/>
                <a:gd name="connsiteY2" fmla="*/ 514352 h 564664"/>
                <a:gd name="connsiteX3" fmla="*/ 464673 w 606016"/>
                <a:gd name="connsiteY3" fmla="*/ 494170 h 564664"/>
                <a:gd name="connsiteX4" fmla="*/ 484855 w 606016"/>
                <a:gd name="connsiteY4" fmla="*/ 473988 h 564664"/>
                <a:gd name="connsiteX5" fmla="*/ 121232 w 606016"/>
                <a:gd name="connsiteY5" fmla="*/ 473988 h 564664"/>
                <a:gd name="connsiteX6" fmla="*/ 141414 w 606016"/>
                <a:gd name="connsiteY6" fmla="*/ 494170 h 564664"/>
                <a:gd name="connsiteX7" fmla="*/ 121232 w 606016"/>
                <a:gd name="connsiteY7" fmla="*/ 514352 h 564664"/>
                <a:gd name="connsiteX8" fmla="*/ 101050 w 606016"/>
                <a:gd name="connsiteY8" fmla="*/ 494170 h 564664"/>
                <a:gd name="connsiteX9" fmla="*/ 121232 w 606016"/>
                <a:gd name="connsiteY9" fmla="*/ 473988 h 564664"/>
                <a:gd name="connsiteX10" fmla="*/ 484813 w 606016"/>
                <a:gd name="connsiteY10" fmla="*/ 443658 h 564664"/>
                <a:gd name="connsiteX11" fmla="*/ 434364 w 606016"/>
                <a:gd name="connsiteY11" fmla="*/ 494115 h 564664"/>
                <a:gd name="connsiteX12" fmla="*/ 484813 w 606016"/>
                <a:gd name="connsiteY12" fmla="*/ 544482 h 564664"/>
                <a:gd name="connsiteX13" fmla="*/ 535352 w 606016"/>
                <a:gd name="connsiteY13" fmla="*/ 494115 h 564664"/>
                <a:gd name="connsiteX14" fmla="*/ 484813 w 606016"/>
                <a:gd name="connsiteY14" fmla="*/ 443658 h 564664"/>
                <a:gd name="connsiteX15" fmla="*/ 121293 w 606016"/>
                <a:gd name="connsiteY15" fmla="*/ 443658 h 564664"/>
                <a:gd name="connsiteX16" fmla="*/ 70755 w 606016"/>
                <a:gd name="connsiteY16" fmla="*/ 494115 h 564664"/>
                <a:gd name="connsiteX17" fmla="*/ 121293 w 606016"/>
                <a:gd name="connsiteY17" fmla="*/ 544482 h 564664"/>
                <a:gd name="connsiteX18" fmla="*/ 171742 w 606016"/>
                <a:gd name="connsiteY18" fmla="*/ 494115 h 564664"/>
                <a:gd name="connsiteX19" fmla="*/ 121293 w 606016"/>
                <a:gd name="connsiteY19" fmla="*/ 443658 h 564664"/>
                <a:gd name="connsiteX20" fmla="*/ 303053 w 606016"/>
                <a:gd name="connsiteY20" fmla="*/ 373109 h 564664"/>
                <a:gd name="connsiteX21" fmla="*/ 292945 w 606016"/>
                <a:gd name="connsiteY21" fmla="*/ 383200 h 564664"/>
                <a:gd name="connsiteX22" fmla="*/ 303053 w 606016"/>
                <a:gd name="connsiteY22" fmla="*/ 393292 h 564664"/>
                <a:gd name="connsiteX23" fmla="*/ 343484 w 606016"/>
                <a:gd name="connsiteY23" fmla="*/ 393292 h 564664"/>
                <a:gd name="connsiteX24" fmla="*/ 343484 w 606016"/>
                <a:gd name="connsiteY24" fmla="*/ 403383 h 564664"/>
                <a:gd name="connsiteX25" fmla="*/ 353592 w 606016"/>
                <a:gd name="connsiteY25" fmla="*/ 413474 h 564664"/>
                <a:gd name="connsiteX26" fmla="*/ 363610 w 606016"/>
                <a:gd name="connsiteY26" fmla="*/ 403383 h 564664"/>
                <a:gd name="connsiteX27" fmla="*/ 363610 w 606016"/>
                <a:gd name="connsiteY27" fmla="*/ 383200 h 564664"/>
                <a:gd name="connsiteX28" fmla="*/ 353592 w 606016"/>
                <a:gd name="connsiteY28" fmla="*/ 373109 h 564664"/>
                <a:gd name="connsiteX29" fmla="*/ 313169 w 606016"/>
                <a:gd name="connsiteY29" fmla="*/ 282403 h 564664"/>
                <a:gd name="connsiteX30" fmla="*/ 447018 w 606016"/>
                <a:gd name="connsiteY30" fmla="*/ 282403 h 564664"/>
                <a:gd name="connsiteX31" fmla="*/ 465069 w 606016"/>
                <a:gd name="connsiteY31" fmla="*/ 311699 h 564664"/>
                <a:gd name="connsiteX32" fmla="*/ 473282 w 606016"/>
                <a:gd name="connsiteY32" fmla="*/ 322696 h 564664"/>
                <a:gd name="connsiteX33" fmla="*/ 313169 w 606016"/>
                <a:gd name="connsiteY33" fmla="*/ 322696 h 564664"/>
                <a:gd name="connsiteX34" fmla="*/ 161665 w 606016"/>
                <a:gd name="connsiteY34" fmla="*/ 282403 h 564664"/>
                <a:gd name="connsiteX35" fmla="*/ 292917 w 606016"/>
                <a:gd name="connsiteY35" fmla="*/ 282403 h 564664"/>
                <a:gd name="connsiteX36" fmla="*/ 292917 w 606016"/>
                <a:gd name="connsiteY36" fmla="*/ 322696 h 564664"/>
                <a:gd name="connsiteX37" fmla="*/ 161665 w 606016"/>
                <a:gd name="connsiteY37" fmla="*/ 322696 h 564664"/>
                <a:gd name="connsiteX38" fmla="*/ 191958 w 606016"/>
                <a:gd name="connsiteY38" fmla="*/ 0 h 564664"/>
                <a:gd name="connsiteX39" fmla="*/ 202066 w 606016"/>
                <a:gd name="connsiteY39" fmla="*/ 10092 h 564664"/>
                <a:gd name="connsiteX40" fmla="*/ 202066 w 606016"/>
                <a:gd name="connsiteY40" fmla="*/ 40366 h 564664"/>
                <a:gd name="connsiteX41" fmla="*/ 222281 w 606016"/>
                <a:gd name="connsiteY41" fmla="*/ 40366 h 564664"/>
                <a:gd name="connsiteX42" fmla="*/ 222281 w 606016"/>
                <a:gd name="connsiteY42" fmla="*/ 10092 h 564664"/>
                <a:gd name="connsiteX43" fmla="*/ 232389 w 606016"/>
                <a:gd name="connsiteY43" fmla="*/ 0 h 564664"/>
                <a:gd name="connsiteX44" fmla="*/ 242406 w 606016"/>
                <a:gd name="connsiteY44" fmla="*/ 10092 h 564664"/>
                <a:gd name="connsiteX45" fmla="*/ 242406 w 606016"/>
                <a:gd name="connsiteY45" fmla="*/ 40366 h 564664"/>
                <a:gd name="connsiteX46" fmla="*/ 252514 w 606016"/>
                <a:gd name="connsiteY46" fmla="*/ 50457 h 564664"/>
                <a:gd name="connsiteX47" fmla="*/ 252514 w 606016"/>
                <a:gd name="connsiteY47" fmla="*/ 100823 h 564664"/>
                <a:gd name="connsiteX48" fmla="*/ 242406 w 606016"/>
                <a:gd name="connsiteY48" fmla="*/ 110915 h 564664"/>
                <a:gd name="connsiteX49" fmla="*/ 221379 w 606016"/>
                <a:gd name="connsiteY49" fmla="*/ 110915 h 564664"/>
                <a:gd name="connsiteX50" fmla="*/ 161634 w 606016"/>
                <a:gd name="connsiteY50" fmla="*/ 161371 h 564664"/>
                <a:gd name="connsiteX51" fmla="*/ 101078 w 606016"/>
                <a:gd name="connsiteY51" fmla="*/ 100823 h 564664"/>
                <a:gd name="connsiteX52" fmla="*/ 60647 w 606016"/>
                <a:gd name="connsiteY52" fmla="*/ 60548 h 564664"/>
                <a:gd name="connsiteX53" fmla="*/ 20216 w 606016"/>
                <a:gd name="connsiteY53" fmla="*/ 100823 h 564664"/>
                <a:gd name="connsiteX54" fmla="*/ 20216 w 606016"/>
                <a:gd name="connsiteY54" fmla="*/ 231921 h 564664"/>
                <a:gd name="connsiteX55" fmla="*/ 80862 w 606016"/>
                <a:gd name="connsiteY55" fmla="*/ 292469 h 564664"/>
                <a:gd name="connsiteX56" fmla="*/ 82126 w 606016"/>
                <a:gd name="connsiteY56" fmla="*/ 292649 h 564664"/>
                <a:gd name="connsiteX57" fmla="*/ 105229 w 606016"/>
                <a:gd name="connsiteY57" fmla="*/ 255167 h 564664"/>
                <a:gd name="connsiteX58" fmla="*/ 164883 w 606016"/>
                <a:gd name="connsiteY58" fmla="*/ 221829 h 564664"/>
                <a:gd name="connsiteX59" fmla="*/ 370559 w 606016"/>
                <a:gd name="connsiteY59" fmla="*/ 221829 h 564664"/>
                <a:gd name="connsiteX60" fmla="*/ 430213 w 606016"/>
                <a:gd name="connsiteY60" fmla="*/ 255077 h 564664"/>
                <a:gd name="connsiteX61" fmla="*/ 434545 w 606016"/>
                <a:gd name="connsiteY61" fmla="*/ 262195 h 564664"/>
                <a:gd name="connsiteX62" fmla="*/ 159920 w 606016"/>
                <a:gd name="connsiteY62" fmla="*/ 262195 h 564664"/>
                <a:gd name="connsiteX63" fmla="*/ 141419 w 606016"/>
                <a:gd name="connsiteY63" fmla="*/ 280575 h 564664"/>
                <a:gd name="connsiteX64" fmla="*/ 141419 w 606016"/>
                <a:gd name="connsiteY64" fmla="*/ 324455 h 564664"/>
                <a:gd name="connsiteX65" fmla="*/ 159920 w 606016"/>
                <a:gd name="connsiteY65" fmla="*/ 342835 h 564664"/>
                <a:gd name="connsiteX66" fmla="*/ 498801 w 606016"/>
                <a:gd name="connsiteY66" fmla="*/ 342835 h 564664"/>
                <a:gd name="connsiteX67" fmla="*/ 538962 w 606016"/>
                <a:gd name="connsiteY67" fmla="*/ 352926 h 564664"/>
                <a:gd name="connsiteX68" fmla="*/ 580566 w 606016"/>
                <a:gd name="connsiteY68" fmla="*/ 352926 h 564664"/>
                <a:gd name="connsiteX69" fmla="*/ 606016 w 606016"/>
                <a:gd name="connsiteY69" fmla="*/ 378335 h 564664"/>
                <a:gd name="connsiteX70" fmla="*/ 606016 w 606016"/>
                <a:gd name="connsiteY70" fmla="*/ 403383 h 564664"/>
                <a:gd name="connsiteX71" fmla="*/ 555567 w 606016"/>
                <a:gd name="connsiteY71" fmla="*/ 403383 h 564664"/>
                <a:gd name="connsiteX72" fmla="*/ 545460 w 606016"/>
                <a:gd name="connsiteY72" fmla="*/ 413474 h 564664"/>
                <a:gd name="connsiteX73" fmla="*/ 555567 w 606016"/>
                <a:gd name="connsiteY73" fmla="*/ 423476 h 564664"/>
                <a:gd name="connsiteX74" fmla="*/ 606016 w 606016"/>
                <a:gd name="connsiteY74" fmla="*/ 423476 h 564664"/>
                <a:gd name="connsiteX75" fmla="*/ 606016 w 606016"/>
                <a:gd name="connsiteY75" fmla="*/ 463391 h 564664"/>
                <a:gd name="connsiteX76" fmla="*/ 565224 w 606016"/>
                <a:gd name="connsiteY76" fmla="*/ 504206 h 564664"/>
                <a:gd name="connsiteX77" fmla="*/ 554755 w 606016"/>
                <a:gd name="connsiteY77" fmla="*/ 504206 h 564664"/>
                <a:gd name="connsiteX78" fmla="*/ 484813 w 606016"/>
                <a:gd name="connsiteY78" fmla="*/ 564664 h 564664"/>
                <a:gd name="connsiteX79" fmla="*/ 414961 w 606016"/>
                <a:gd name="connsiteY79" fmla="*/ 504206 h 564664"/>
                <a:gd name="connsiteX80" fmla="*/ 191145 w 606016"/>
                <a:gd name="connsiteY80" fmla="*/ 504206 h 564664"/>
                <a:gd name="connsiteX81" fmla="*/ 121293 w 606016"/>
                <a:gd name="connsiteY81" fmla="*/ 564664 h 564664"/>
                <a:gd name="connsiteX82" fmla="*/ 51351 w 606016"/>
                <a:gd name="connsiteY82" fmla="*/ 504206 h 564664"/>
                <a:gd name="connsiteX83" fmla="*/ 35377 w 606016"/>
                <a:gd name="connsiteY83" fmla="*/ 504206 h 564664"/>
                <a:gd name="connsiteX84" fmla="*/ 90 w 606016"/>
                <a:gd name="connsiteY84" fmla="*/ 468977 h 564664"/>
                <a:gd name="connsiteX85" fmla="*/ 0 w 606016"/>
                <a:gd name="connsiteY85" fmla="*/ 423476 h 564664"/>
                <a:gd name="connsiteX86" fmla="*/ 50539 w 606016"/>
                <a:gd name="connsiteY86" fmla="*/ 423476 h 564664"/>
                <a:gd name="connsiteX87" fmla="*/ 60647 w 606016"/>
                <a:gd name="connsiteY87" fmla="*/ 413474 h 564664"/>
                <a:gd name="connsiteX88" fmla="*/ 50539 w 606016"/>
                <a:gd name="connsiteY88" fmla="*/ 403383 h 564664"/>
                <a:gd name="connsiteX89" fmla="*/ 0 w 606016"/>
                <a:gd name="connsiteY89" fmla="*/ 403383 h 564664"/>
                <a:gd name="connsiteX90" fmla="*/ 0 w 606016"/>
                <a:gd name="connsiteY90" fmla="*/ 378335 h 564664"/>
                <a:gd name="connsiteX91" fmla="*/ 7400 w 606016"/>
                <a:gd name="connsiteY91" fmla="*/ 360405 h 564664"/>
                <a:gd name="connsiteX92" fmla="*/ 25540 w 606016"/>
                <a:gd name="connsiteY92" fmla="*/ 352926 h 564664"/>
                <a:gd name="connsiteX93" fmla="*/ 54961 w 606016"/>
                <a:gd name="connsiteY93" fmla="*/ 336798 h 564664"/>
                <a:gd name="connsiteX94" fmla="*/ 70303 w 606016"/>
                <a:gd name="connsiteY94" fmla="*/ 311840 h 564664"/>
                <a:gd name="connsiteX95" fmla="*/ 90 w 606016"/>
                <a:gd name="connsiteY95" fmla="*/ 231921 h 564664"/>
                <a:gd name="connsiteX96" fmla="*/ 90 w 606016"/>
                <a:gd name="connsiteY96" fmla="*/ 100823 h 564664"/>
                <a:gd name="connsiteX97" fmla="*/ 60647 w 606016"/>
                <a:gd name="connsiteY97" fmla="*/ 40366 h 564664"/>
                <a:gd name="connsiteX98" fmla="*/ 121293 w 606016"/>
                <a:gd name="connsiteY98" fmla="*/ 100823 h 564664"/>
                <a:gd name="connsiteX99" fmla="*/ 161634 w 606016"/>
                <a:gd name="connsiteY99" fmla="*/ 141189 h 564664"/>
                <a:gd name="connsiteX100" fmla="*/ 200622 w 606016"/>
                <a:gd name="connsiteY100" fmla="*/ 110915 h 564664"/>
                <a:gd name="connsiteX101" fmla="*/ 181850 w 606016"/>
                <a:gd name="connsiteY101" fmla="*/ 110915 h 564664"/>
                <a:gd name="connsiteX102" fmla="*/ 171742 w 606016"/>
                <a:gd name="connsiteY102" fmla="*/ 100823 h 564664"/>
                <a:gd name="connsiteX103" fmla="*/ 171742 w 606016"/>
                <a:gd name="connsiteY103" fmla="*/ 50457 h 564664"/>
                <a:gd name="connsiteX104" fmla="*/ 181850 w 606016"/>
                <a:gd name="connsiteY104" fmla="*/ 40366 h 564664"/>
                <a:gd name="connsiteX105" fmla="*/ 181850 w 606016"/>
                <a:gd name="connsiteY105" fmla="*/ 10092 h 564664"/>
                <a:gd name="connsiteX106" fmla="*/ 191958 w 606016"/>
                <a:gd name="connsiteY106" fmla="*/ 0 h 564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606016" h="564664">
                  <a:moveTo>
                    <a:pt x="484855" y="473988"/>
                  </a:moveTo>
                  <a:cubicBezTo>
                    <a:pt x="496001" y="473988"/>
                    <a:pt x="505037" y="483024"/>
                    <a:pt x="505037" y="494170"/>
                  </a:cubicBezTo>
                  <a:cubicBezTo>
                    <a:pt x="505037" y="505316"/>
                    <a:pt x="496001" y="514352"/>
                    <a:pt x="484855" y="514352"/>
                  </a:cubicBezTo>
                  <a:cubicBezTo>
                    <a:pt x="473709" y="514352"/>
                    <a:pt x="464673" y="505316"/>
                    <a:pt x="464673" y="494170"/>
                  </a:cubicBezTo>
                  <a:cubicBezTo>
                    <a:pt x="464673" y="483024"/>
                    <a:pt x="473709" y="473988"/>
                    <a:pt x="484855" y="473988"/>
                  </a:cubicBezTo>
                  <a:close/>
                  <a:moveTo>
                    <a:pt x="121232" y="473988"/>
                  </a:moveTo>
                  <a:cubicBezTo>
                    <a:pt x="132378" y="473988"/>
                    <a:pt x="141414" y="483024"/>
                    <a:pt x="141414" y="494170"/>
                  </a:cubicBezTo>
                  <a:cubicBezTo>
                    <a:pt x="141414" y="505316"/>
                    <a:pt x="132378" y="514352"/>
                    <a:pt x="121232" y="514352"/>
                  </a:cubicBezTo>
                  <a:cubicBezTo>
                    <a:pt x="110086" y="514352"/>
                    <a:pt x="101050" y="505316"/>
                    <a:pt x="101050" y="494170"/>
                  </a:cubicBezTo>
                  <a:cubicBezTo>
                    <a:pt x="101050" y="483024"/>
                    <a:pt x="110086" y="473988"/>
                    <a:pt x="121232" y="473988"/>
                  </a:cubicBezTo>
                  <a:close/>
                  <a:moveTo>
                    <a:pt x="484813" y="443658"/>
                  </a:moveTo>
                  <a:cubicBezTo>
                    <a:pt x="457016" y="443658"/>
                    <a:pt x="434364" y="466274"/>
                    <a:pt x="434364" y="494115"/>
                  </a:cubicBezTo>
                  <a:cubicBezTo>
                    <a:pt x="434364" y="521866"/>
                    <a:pt x="457016" y="544482"/>
                    <a:pt x="484813" y="544482"/>
                  </a:cubicBezTo>
                  <a:cubicBezTo>
                    <a:pt x="512699" y="544482"/>
                    <a:pt x="535352" y="521866"/>
                    <a:pt x="535352" y="494115"/>
                  </a:cubicBezTo>
                  <a:cubicBezTo>
                    <a:pt x="535352" y="466274"/>
                    <a:pt x="512699" y="443658"/>
                    <a:pt x="484813" y="443658"/>
                  </a:cubicBezTo>
                  <a:close/>
                  <a:moveTo>
                    <a:pt x="121293" y="443658"/>
                  </a:moveTo>
                  <a:cubicBezTo>
                    <a:pt x="93407" y="443658"/>
                    <a:pt x="70755" y="466274"/>
                    <a:pt x="70755" y="494115"/>
                  </a:cubicBezTo>
                  <a:cubicBezTo>
                    <a:pt x="70755" y="521866"/>
                    <a:pt x="93407" y="544482"/>
                    <a:pt x="121293" y="544482"/>
                  </a:cubicBezTo>
                  <a:cubicBezTo>
                    <a:pt x="149090" y="544482"/>
                    <a:pt x="171742" y="521866"/>
                    <a:pt x="171742" y="494115"/>
                  </a:cubicBezTo>
                  <a:cubicBezTo>
                    <a:pt x="171742" y="466274"/>
                    <a:pt x="149090" y="443658"/>
                    <a:pt x="121293" y="443658"/>
                  </a:cubicBezTo>
                  <a:close/>
                  <a:moveTo>
                    <a:pt x="303053" y="373109"/>
                  </a:moveTo>
                  <a:cubicBezTo>
                    <a:pt x="297458" y="373109"/>
                    <a:pt x="292945" y="377614"/>
                    <a:pt x="292945" y="383200"/>
                  </a:cubicBezTo>
                  <a:cubicBezTo>
                    <a:pt x="292945" y="388787"/>
                    <a:pt x="297458" y="393292"/>
                    <a:pt x="303053" y="393292"/>
                  </a:cubicBezTo>
                  <a:lnTo>
                    <a:pt x="343484" y="393292"/>
                  </a:lnTo>
                  <a:lnTo>
                    <a:pt x="343484" y="403383"/>
                  </a:lnTo>
                  <a:cubicBezTo>
                    <a:pt x="343484" y="408879"/>
                    <a:pt x="347997" y="413474"/>
                    <a:pt x="353592" y="413474"/>
                  </a:cubicBezTo>
                  <a:cubicBezTo>
                    <a:pt x="359097" y="413474"/>
                    <a:pt x="363610" y="408969"/>
                    <a:pt x="363610" y="403383"/>
                  </a:cubicBezTo>
                  <a:lnTo>
                    <a:pt x="363610" y="383200"/>
                  </a:lnTo>
                  <a:cubicBezTo>
                    <a:pt x="363610" y="377614"/>
                    <a:pt x="359097" y="373109"/>
                    <a:pt x="353592" y="373109"/>
                  </a:cubicBezTo>
                  <a:close/>
                  <a:moveTo>
                    <a:pt x="313169" y="282403"/>
                  </a:moveTo>
                  <a:lnTo>
                    <a:pt x="447018" y="282403"/>
                  </a:lnTo>
                  <a:lnTo>
                    <a:pt x="465069" y="311699"/>
                  </a:lnTo>
                  <a:cubicBezTo>
                    <a:pt x="467506" y="315665"/>
                    <a:pt x="470304" y="319271"/>
                    <a:pt x="473282" y="322696"/>
                  </a:cubicBezTo>
                  <a:lnTo>
                    <a:pt x="313169" y="322696"/>
                  </a:lnTo>
                  <a:close/>
                  <a:moveTo>
                    <a:pt x="161665" y="282403"/>
                  </a:moveTo>
                  <a:lnTo>
                    <a:pt x="292917" y="282403"/>
                  </a:lnTo>
                  <a:lnTo>
                    <a:pt x="292917" y="322696"/>
                  </a:lnTo>
                  <a:lnTo>
                    <a:pt x="161665" y="322696"/>
                  </a:lnTo>
                  <a:close/>
                  <a:moveTo>
                    <a:pt x="191958" y="0"/>
                  </a:moveTo>
                  <a:cubicBezTo>
                    <a:pt x="197553" y="0"/>
                    <a:pt x="202066" y="4505"/>
                    <a:pt x="202066" y="10092"/>
                  </a:cubicBezTo>
                  <a:lnTo>
                    <a:pt x="202066" y="40366"/>
                  </a:lnTo>
                  <a:lnTo>
                    <a:pt x="222281" y="40366"/>
                  </a:lnTo>
                  <a:lnTo>
                    <a:pt x="222281" y="10092"/>
                  </a:lnTo>
                  <a:cubicBezTo>
                    <a:pt x="222281" y="4505"/>
                    <a:pt x="226793" y="0"/>
                    <a:pt x="232389" y="0"/>
                  </a:cubicBezTo>
                  <a:cubicBezTo>
                    <a:pt x="237894" y="0"/>
                    <a:pt x="242406" y="4505"/>
                    <a:pt x="242406" y="10092"/>
                  </a:cubicBezTo>
                  <a:lnTo>
                    <a:pt x="242406" y="40366"/>
                  </a:lnTo>
                  <a:cubicBezTo>
                    <a:pt x="248002" y="40366"/>
                    <a:pt x="252514" y="44871"/>
                    <a:pt x="252514" y="50457"/>
                  </a:cubicBezTo>
                  <a:lnTo>
                    <a:pt x="252514" y="100823"/>
                  </a:lnTo>
                  <a:cubicBezTo>
                    <a:pt x="252514" y="106410"/>
                    <a:pt x="248002" y="110915"/>
                    <a:pt x="242406" y="110915"/>
                  </a:cubicBezTo>
                  <a:lnTo>
                    <a:pt x="221379" y="110915"/>
                  </a:lnTo>
                  <a:cubicBezTo>
                    <a:pt x="216505" y="139477"/>
                    <a:pt x="191597" y="161371"/>
                    <a:pt x="161634" y="161371"/>
                  </a:cubicBezTo>
                  <a:cubicBezTo>
                    <a:pt x="128243" y="161371"/>
                    <a:pt x="101078" y="134251"/>
                    <a:pt x="101078" y="100823"/>
                  </a:cubicBezTo>
                  <a:cubicBezTo>
                    <a:pt x="101078" y="78568"/>
                    <a:pt x="82938" y="60548"/>
                    <a:pt x="60647" y="60548"/>
                  </a:cubicBezTo>
                  <a:cubicBezTo>
                    <a:pt x="38355" y="60548"/>
                    <a:pt x="20216" y="78568"/>
                    <a:pt x="20216" y="100823"/>
                  </a:cubicBezTo>
                  <a:lnTo>
                    <a:pt x="20216" y="231921"/>
                  </a:lnTo>
                  <a:cubicBezTo>
                    <a:pt x="20216" y="265258"/>
                    <a:pt x="47470" y="292469"/>
                    <a:pt x="80862" y="292469"/>
                  </a:cubicBezTo>
                  <a:cubicBezTo>
                    <a:pt x="81314" y="292469"/>
                    <a:pt x="81675" y="292649"/>
                    <a:pt x="82126" y="292649"/>
                  </a:cubicBezTo>
                  <a:lnTo>
                    <a:pt x="105229" y="255167"/>
                  </a:lnTo>
                  <a:cubicBezTo>
                    <a:pt x="117864" y="234624"/>
                    <a:pt x="140697" y="221829"/>
                    <a:pt x="164883" y="221829"/>
                  </a:cubicBezTo>
                  <a:lnTo>
                    <a:pt x="370559" y="221829"/>
                  </a:lnTo>
                  <a:cubicBezTo>
                    <a:pt x="394655" y="221829"/>
                    <a:pt x="417578" y="234624"/>
                    <a:pt x="430213" y="255077"/>
                  </a:cubicBezTo>
                  <a:lnTo>
                    <a:pt x="434545" y="262195"/>
                  </a:lnTo>
                  <a:lnTo>
                    <a:pt x="159920" y="262195"/>
                  </a:lnTo>
                  <a:cubicBezTo>
                    <a:pt x="149722" y="262195"/>
                    <a:pt x="141419" y="270484"/>
                    <a:pt x="141419" y="280575"/>
                  </a:cubicBezTo>
                  <a:lnTo>
                    <a:pt x="141419" y="324455"/>
                  </a:lnTo>
                  <a:cubicBezTo>
                    <a:pt x="141419" y="334546"/>
                    <a:pt x="149722" y="342835"/>
                    <a:pt x="159920" y="342835"/>
                  </a:cubicBezTo>
                  <a:lnTo>
                    <a:pt x="498801" y="342835"/>
                  </a:lnTo>
                  <a:cubicBezTo>
                    <a:pt x="511075" y="349322"/>
                    <a:pt x="524793" y="352926"/>
                    <a:pt x="538962" y="352926"/>
                  </a:cubicBezTo>
                  <a:lnTo>
                    <a:pt x="580566" y="352926"/>
                  </a:lnTo>
                  <a:cubicBezTo>
                    <a:pt x="594645" y="352926"/>
                    <a:pt x="606016" y="364369"/>
                    <a:pt x="606016" y="378335"/>
                  </a:cubicBezTo>
                  <a:lnTo>
                    <a:pt x="606016" y="403383"/>
                  </a:lnTo>
                  <a:lnTo>
                    <a:pt x="555567" y="403383"/>
                  </a:lnTo>
                  <a:cubicBezTo>
                    <a:pt x="549972" y="403383"/>
                    <a:pt x="545460" y="407888"/>
                    <a:pt x="545460" y="413474"/>
                  </a:cubicBezTo>
                  <a:cubicBezTo>
                    <a:pt x="545460" y="418971"/>
                    <a:pt x="549972" y="423476"/>
                    <a:pt x="555567" y="423476"/>
                  </a:cubicBezTo>
                  <a:lnTo>
                    <a:pt x="606016" y="423476"/>
                  </a:lnTo>
                  <a:lnTo>
                    <a:pt x="606016" y="463391"/>
                  </a:lnTo>
                  <a:cubicBezTo>
                    <a:pt x="606016" y="485916"/>
                    <a:pt x="587696" y="504206"/>
                    <a:pt x="565224" y="504206"/>
                  </a:cubicBezTo>
                  <a:lnTo>
                    <a:pt x="554755" y="504206"/>
                  </a:lnTo>
                  <a:cubicBezTo>
                    <a:pt x="549791" y="538355"/>
                    <a:pt x="520371" y="564664"/>
                    <a:pt x="484813" y="564664"/>
                  </a:cubicBezTo>
                  <a:cubicBezTo>
                    <a:pt x="449345" y="564664"/>
                    <a:pt x="419924" y="538355"/>
                    <a:pt x="414961" y="504206"/>
                  </a:cubicBezTo>
                  <a:lnTo>
                    <a:pt x="191145" y="504206"/>
                  </a:lnTo>
                  <a:cubicBezTo>
                    <a:pt x="186182" y="538355"/>
                    <a:pt x="156761" y="564664"/>
                    <a:pt x="121293" y="564664"/>
                  </a:cubicBezTo>
                  <a:cubicBezTo>
                    <a:pt x="85736" y="564664"/>
                    <a:pt x="56315" y="538355"/>
                    <a:pt x="51351" y="504206"/>
                  </a:cubicBezTo>
                  <a:lnTo>
                    <a:pt x="35377" y="504206"/>
                  </a:lnTo>
                  <a:cubicBezTo>
                    <a:pt x="15884" y="504206"/>
                    <a:pt x="90" y="488349"/>
                    <a:pt x="90" y="468977"/>
                  </a:cubicBezTo>
                  <a:lnTo>
                    <a:pt x="0" y="423476"/>
                  </a:lnTo>
                  <a:lnTo>
                    <a:pt x="50539" y="423476"/>
                  </a:lnTo>
                  <a:cubicBezTo>
                    <a:pt x="56134" y="423476"/>
                    <a:pt x="60647" y="418971"/>
                    <a:pt x="60647" y="413474"/>
                  </a:cubicBezTo>
                  <a:cubicBezTo>
                    <a:pt x="60647" y="407888"/>
                    <a:pt x="56134" y="403383"/>
                    <a:pt x="50539" y="403383"/>
                  </a:cubicBezTo>
                  <a:lnTo>
                    <a:pt x="0" y="403383"/>
                  </a:lnTo>
                  <a:lnTo>
                    <a:pt x="0" y="378335"/>
                  </a:lnTo>
                  <a:cubicBezTo>
                    <a:pt x="0" y="371577"/>
                    <a:pt x="2617" y="365180"/>
                    <a:pt x="7400" y="360405"/>
                  </a:cubicBezTo>
                  <a:cubicBezTo>
                    <a:pt x="12274" y="355630"/>
                    <a:pt x="18681" y="352926"/>
                    <a:pt x="25540" y="352926"/>
                  </a:cubicBezTo>
                  <a:cubicBezTo>
                    <a:pt x="37814" y="352926"/>
                    <a:pt x="48824" y="346710"/>
                    <a:pt x="54961" y="336798"/>
                  </a:cubicBezTo>
                  <a:lnTo>
                    <a:pt x="70303" y="311840"/>
                  </a:lnTo>
                  <a:cubicBezTo>
                    <a:pt x="30775" y="306614"/>
                    <a:pt x="90" y="272827"/>
                    <a:pt x="90" y="231921"/>
                  </a:cubicBezTo>
                  <a:lnTo>
                    <a:pt x="90" y="100823"/>
                  </a:lnTo>
                  <a:cubicBezTo>
                    <a:pt x="90" y="67486"/>
                    <a:pt x="27255" y="40366"/>
                    <a:pt x="60647" y="40366"/>
                  </a:cubicBezTo>
                  <a:cubicBezTo>
                    <a:pt x="94039" y="40366"/>
                    <a:pt x="121293" y="67486"/>
                    <a:pt x="121293" y="100823"/>
                  </a:cubicBezTo>
                  <a:cubicBezTo>
                    <a:pt x="121293" y="123078"/>
                    <a:pt x="139343" y="141189"/>
                    <a:pt x="161634" y="141189"/>
                  </a:cubicBezTo>
                  <a:cubicBezTo>
                    <a:pt x="180406" y="141189"/>
                    <a:pt x="196109" y="128304"/>
                    <a:pt x="200622" y="110915"/>
                  </a:cubicBezTo>
                  <a:lnTo>
                    <a:pt x="181850" y="110915"/>
                  </a:lnTo>
                  <a:cubicBezTo>
                    <a:pt x="176255" y="110915"/>
                    <a:pt x="171742" y="106410"/>
                    <a:pt x="171742" y="100823"/>
                  </a:cubicBezTo>
                  <a:lnTo>
                    <a:pt x="171742" y="50457"/>
                  </a:lnTo>
                  <a:cubicBezTo>
                    <a:pt x="171742" y="44871"/>
                    <a:pt x="176255" y="40366"/>
                    <a:pt x="181850" y="40366"/>
                  </a:cubicBezTo>
                  <a:lnTo>
                    <a:pt x="181850" y="10092"/>
                  </a:lnTo>
                  <a:cubicBezTo>
                    <a:pt x="181850" y="4505"/>
                    <a:pt x="186362" y="0"/>
                    <a:pt x="191958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9" name="iś1îḓê"/>
            <p:cNvSpPr/>
            <p:nvPr/>
          </p:nvSpPr>
          <p:spPr bwMode="auto">
            <a:xfrm>
              <a:off x="5924135" y="1186438"/>
              <a:ext cx="333138" cy="299788"/>
            </a:xfrm>
            <a:custGeom>
              <a:avLst/>
              <a:gdLst>
                <a:gd name="connsiteX0" fmla="*/ 225929 w 608344"/>
                <a:gd name="connsiteY0" fmla="*/ 296304 h 547447"/>
                <a:gd name="connsiteX1" fmla="*/ 225929 w 608344"/>
                <a:gd name="connsiteY1" fmla="*/ 341046 h 547447"/>
                <a:gd name="connsiteX2" fmla="*/ 44891 w 608344"/>
                <a:gd name="connsiteY2" fmla="*/ 420403 h 547447"/>
                <a:gd name="connsiteX3" fmla="*/ 287412 w 608344"/>
                <a:gd name="connsiteY3" fmla="*/ 502613 h 547447"/>
                <a:gd name="connsiteX4" fmla="*/ 530026 w 608344"/>
                <a:gd name="connsiteY4" fmla="*/ 420403 h 547447"/>
                <a:gd name="connsiteX5" fmla="*/ 351292 w 608344"/>
                <a:gd name="connsiteY5" fmla="*/ 341322 h 547447"/>
                <a:gd name="connsiteX6" fmla="*/ 351292 w 608344"/>
                <a:gd name="connsiteY6" fmla="*/ 296488 h 547447"/>
                <a:gd name="connsiteX7" fmla="*/ 574825 w 608344"/>
                <a:gd name="connsiteY7" fmla="*/ 420403 h 547447"/>
                <a:gd name="connsiteX8" fmla="*/ 287412 w 608344"/>
                <a:gd name="connsiteY8" fmla="*/ 547447 h 547447"/>
                <a:gd name="connsiteX9" fmla="*/ 0 w 608344"/>
                <a:gd name="connsiteY9" fmla="*/ 420403 h 547447"/>
                <a:gd name="connsiteX10" fmla="*/ 225929 w 608344"/>
                <a:gd name="connsiteY10" fmla="*/ 296304 h 547447"/>
                <a:gd name="connsiteX11" fmla="*/ 288618 w 608344"/>
                <a:gd name="connsiteY11" fmla="*/ 0 h 547447"/>
                <a:gd name="connsiteX12" fmla="*/ 311206 w 608344"/>
                <a:gd name="connsiteY12" fmla="*/ 22551 h 547447"/>
                <a:gd name="connsiteX13" fmla="*/ 311206 w 608344"/>
                <a:gd name="connsiteY13" fmla="*/ 36174 h 547447"/>
                <a:gd name="connsiteX14" fmla="*/ 370947 w 608344"/>
                <a:gd name="connsiteY14" fmla="*/ 21079 h 547447"/>
                <a:gd name="connsiteX15" fmla="*/ 428291 w 608344"/>
                <a:gd name="connsiteY15" fmla="*/ 34978 h 547447"/>
                <a:gd name="connsiteX16" fmla="*/ 486004 w 608344"/>
                <a:gd name="connsiteY16" fmla="*/ 48969 h 547447"/>
                <a:gd name="connsiteX17" fmla="*/ 540766 w 608344"/>
                <a:gd name="connsiteY17" fmla="*/ 36450 h 547447"/>
                <a:gd name="connsiteX18" fmla="*/ 578012 w 608344"/>
                <a:gd name="connsiteY18" fmla="*/ 18409 h 547447"/>
                <a:gd name="connsiteX19" fmla="*/ 587232 w 608344"/>
                <a:gd name="connsiteY19" fmla="*/ 16292 h 547447"/>
                <a:gd name="connsiteX20" fmla="*/ 598479 w 608344"/>
                <a:gd name="connsiteY20" fmla="*/ 19514 h 547447"/>
                <a:gd name="connsiteX21" fmla="*/ 608344 w 608344"/>
                <a:gd name="connsiteY21" fmla="*/ 37371 h 547447"/>
                <a:gd name="connsiteX22" fmla="*/ 608344 w 608344"/>
                <a:gd name="connsiteY22" fmla="*/ 174520 h 547447"/>
                <a:gd name="connsiteX23" fmla="*/ 596451 w 608344"/>
                <a:gd name="connsiteY23" fmla="*/ 193481 h 547447"/>
                <a:gd name="connsiteX24" fmla="*/ 540766 w 608344"/>
                <a:gd name="connsiteY24" fmla="*/ 220451 h 547447"/>
                <a:gd name="connsiteX25" fmla="*/ 486004 w 608344"/>
                <a:gd name="connsiteY25" fmla="*/ 232969 h 547447"/>
                <a:gd name="connsiteX26" fmla="*/ 428291 w 608344"/>
                <a:gd name="connsiteY26" fmla="*/ 218978 h 547447"/>
                <a:gd name="connsiteX27" fmla="*/ 370947 w 608344"/>
                <a:gd name="connsiteY27" fmla="*/ 205079 h 547447"/>
                <a:gd name="connsiteX28" fmla="*/ 311206 w 608344"/>
                <a:gd name="connsiteY28" fmla="*/ 220175 h 547447"/>
                <a:gd name="connsiteX29" fmla="*/ 311206 w 608344"/>
                <a:gd name="connsiteY29" fmla="*/ 426267 h 547447"/>
                <a:gd name="connsiteX30" fmla="*/ 288618 w 608344"/>
                <a:gd name="connsiteY30" fmla="*/ 448726 h 547447"/>
                <a:gd name="connsiteX31" fmla="*/ 266031 w 608344"/>
                <a:gd name="connsiteY31" fmla="*/ 426267 h 547447"/>
                <a:gd name="connsiteX32" fmla="*/ 266031 w 608344"/>
                <a:gd name="connsiteY32" fmla="*/ 22551 h 547447"/>
                <a:gd name="connsiteX33" fmla="*/ 288618 w 608344"/>
                <a:gd name="connsiteY33" fmla="*/ 0 h 547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08344" h="547447">
                  <a:moveTo>
                    <a:pt x="225929" y="296304"/>
                  </a:moveTo>
                  <a:lnTo>
                    <a:pt x="225929" y="341046"/>
                  </a:lnTo>
                  <a:cubicBezTo>
                    <a:pt x="112458" y="351817"/>
                    <a:pt x="44891" y="391035"/>
                    <a:pt x="44891" y="420403"/>
                  </a:cubicBezTo>
                  <a:cubicBezTo>
                    <a:pt x="44891" y="454741"/>
                    <a:pt x="137162" y="502613"/>
                    <a:pt x="287412" y="502613"/>
                  </a:cubicBezTo>
                  <a:cubicBezTo>
                    <a:pt x="437663" y="502613"/>
                    <a:pt x="530026" y="454741"/>
                    <a:pt x="530026" y="420403"/>
                  </a:cubicBezTo>
                  <a:cubicBezTo>
                    <a:pt x="530026" y="391219"/>
                    <a:pt x="463289" y="352369"/>
                    <a:pt x="351292" y="341322"/>
                  </a:cubicBezTo>
                  <a:lnTo>
                    <a:pt x="351292" y="296488"/>
                  </a:lnTo>
                  <a:cubicBezTo>
                    <a:pt x="468543" y="307904"/>
                    <a:pt x="574825" y="350436"/>
                    <a:pt x="574825" y="420403"/>
                  </a:cubicBezTo>
                  <a:cubicBezTo>
                    <a:pt x="574825" y="502889"/>
                    <a:pt x="426786" y="547447"/>
                    <a:pt x="287412" y="547447"/>
                  </a:cubicBezTo>
                  <a:cubicBezTo>
                    <a:pt x="148131" y="547447"/>
                    <a:pt x="0" y="502889"/>
                    <a:pt x="0" y="420403"/>
                  </a:cubicBezTo>
                  <a:cubicBezTo>
                    <a:pt x="0" y="349976"/>
                    <a:pt x="107757" y="307351"/>
                    <a:pt x="225929" y="296304"/>
                  </a:cubicBezTo>
                  <a:close/>
                  <a:moveTo>
                    <a:pt x="288618" y="0"/>
                  </a:moveTo>
                  <a:cubicBezTo>
                    <a:pt x="301064" y="0"/>
                    <a:pt x="311206" y="10033"/>
                    <a:pt x="311206" y="22551"/>
                  </a:cubicBezTo>
                  <a:lnTo>
                    <a:pt x="311206" y="36174"/>
                  </a:lnTo>
                  <a:cubicBezTo>
                    <a:pt x="329829" y="26141"/>
                    <a:pt x="350388" y="21079"/>
                    <a:pt x="370947" y="21079"/>
                  </a:cubicBezTo>
                  <a:cubicBezTo>
                    <a:pt x="390584" y="21079"/>
                    <a:pt x="410313" y="25681"/>
                    <a:pt x="428291" y="34978"/>
                  </a:cubicBezTo>
                  <a:cubicBezTo>
                    <a:pt x="446361" y="44366"/>
                    <a:pt x="466182" y="48969"/>
                    <a:pt x="486004" y="48969"/>
                  </a:cubicBezTo>
                  <a:cubicBezTo>
                    <a:pt x="504719" y="48969"/>
                    <a:pt x="523526" y="44827"/>
                    <a:pt x="540766" y="36450"/>
                  </a:cubicBezTo>
                  <a:lnTo>
                    <a:pt x="578012" y="18409"/>
                  </a:lnTo>
                  <a:cubicBezTo>
                    <a:pt x="580963" y="17029"/>
                    <a:pt x="584097" y="16292"/>
                    <a:pt x="587232" y="16292"/>
                  </a:cubicBezTo>
                  <a:cubicBezTo>
                    <a:pt x="591104" y="16292"/>
                    <a:pt x="594976" y="17397"/>
                    <a:pt x="598479" y="19514"/>
                  </a:cubicBezTo>
                  <a:cubicBezTo>
                    <a:pt x="604564" y="23380"/>
                    <a:pt x="608344" y="30099"/>
                    <a:pt x="608344" y="37371"/>
                  </a:cubicBezTo>
                  <a:lnTo>
                    <a:pt x="608344" y="174520"/>
                  </a:lnTo>
                  <a:cubicBezTo>
                    <a:pt x="608344" y="182620"/>
                    <a:pt x="603734" y="189984"/>
                    <a:pt x="596451" y="193481"/>
                  </a:cubicBezTo>
                  <a:lnTo>
                    <a:pt x="540766" y="220451"/>
                  </a:lnTo>
                  <a:cubicBezTo>
                    <a:pt x="523434" y="228827"/>
                    <a:pt x="504719" y="232969"/>
                    <a:pt x="486004" y="232969"/>
                  </a:cubicBezTo>
                  <a:cubicBezTo>
                    <a:pt x="466182" y="232969"/>
                    <a:pt x="446361" y="228367"/>
                    <a:pt x="428291" y="218978"/>
                  </a:cubicBezTo>
                  <a:cubicBezTo>
                    <a:pt x="410313" y="209774"/>
                    <a:pt x="390584" y="205079"/>
                    <a:pt x="370947" y="205079"/>
                  </a:cubicBezTo>
                  <a:cubicBezTo>
                    <a:pt x="350388" y="205079"/>
                    <a:pt x="329829" y="210142"/>
                    <a:pt x="311206" y="220175"/>
                  </a:cubicBezTo>
                  <a:lnTo>
                    <a:pt x="311206" y="426267"/>
                  </a:lnTo>
                  <a:cubicBezTo>
                    <a:pt x="311206" y="438693"/>
                    <a:pt x="301064" y="448726"/>
                    <a:pt x="288618" y="448726"/>
                  </a:cubicBezTo>
                  <a:cubicBezTo>
                    <a:pt x="276172" y="448726"/>
                    <a:pt x="266031" y="438693"/>
                    <a:pt x="266031" y="426267"/>
                  </a:cubicBezTo>
                  <a:lnTo>
                    <a:pt x="266031" y="22551"/>
                  </a:lnTo>
                  <a:cubicBezTo>
                    <a:pt x="266031" y="10033"/>
                    <a:pt x="276172" y="0"/>
                    <a:pt x="2886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30" name="išľíḓé"/>
            <p:cNvSpPr/>
            <p:nvPr/>
          </p:nvSpPr>
          <p:spPr bwMode="auto">
            <a:xfrm>
              <a:off x="9594763" y="1183282"/>
              <a:ext cx="333138" cy="306100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608909" h="559493">
                  <a:moveTo>
                    <a:pt x="470180" y="272856"/>
                  </a:moveTo>
                  <a:lnTo>
                    <a:pt x="476019" y="272856"/>
                  </a:lnTo>
                  <a:lnTo>
                    <a:pt x="481953" y="272856"/>
                  </a:lnTo>
                  <a:cubicBezTo>
                    <a:pt x="509171" y="272856"/>
                    <a:pt x="531210" y="294963"/>
                    <a:pt x="531210" y="322056"/>
                  </a:cubicBezTo>
                  <a:lnTo>
                    <a:pt x="531210" y="376617"/>
                  </a:lnTo>
                  <a:cubicBezTo>
                    <a:pt x="531210" y="385084"/>
                    <a:pt x="526783" y="392609"/>
                    <a:pt x="520096" y="397031"/>
                  </a:cubicBezTo>
                  <a:lnTo>
                    <a:pt x="520096" y="449711"/>
                  </a:lnTo>
                  <a:cubicBezTo>
                    <a:pt x="520096" y="450558"/>
                    <a:pt x="520661" y="451498"/>
                    <a:pt x="521509" y="451875"/>
                  </a:cubicBezTo>
                  <a:cubicBezTo>
                    <a:pt x="528949" y="455450"/>
                    <a:pt x="565492" y="473888"/>
                    <a:pt x="599209" y="501639"/>
                  </a:cubicBezTo>
                  <a:cubicBezTo>
                    <a:pt x="605425" y="506625"/>
                    <a:pt x="608909" y="514150"/>
                    <a:pt x="608909" y="522052"/>
                  </a:cubicBezTo>
                  <a:lnTo>
                    <a:pt x="608909" y="559493"/>
                  </a:lnTo>
                  <a:lnTo>
                    <a:pt x="483083" y="559493"/>
                  </a:lnTo>
                  <a:lnTo>
                    <a:pt x="483083" y="515561"/>
                  </a:lnTo>
                  <a:cubicBezTo>
                    <a:pt x="483083" y="499475"/>
                    <a:pt x="476019" y="484424"/>
                    <a:pt x="463587" y="474264"/>
                  </a:cubicBezTo>
                  <a:cubicBezTo>
                    <a:pt x="453039" y="465609"/>
                    <a:pt x="442302" y="457707"/>
                    <a:pt x="431848" y="450558"/>
                  </a:cubicBezTo>
                  <a:cubicBezTo>
                    <a:pt x="431848" y="450370"/>
                    <a:pt x="431942" y="450087"/>
                    <a:pt x="431942" y="449711"/>
                  </a:cubicBezTo>
                  <a:lnTo>
                    <a:pt x="431942" y="397031"/>
                  </a:lnTo>
                  <a:cubicBezTo>
                    <a:pt x="425350" y="392609"/>
                    <a:pt x="420923" y="385084"/>
                    <a:pt x="420923" y="376617"/>
                  </a:cubicBezTo>
                  <a:lnTo>
                    <a:pt x="420923" y="322056"/>
                  </a:lnTo>
                  <a:cubicBezTo>
                    <a:pt x="420923" y="294775"/>
                    <a:pt x="443056" y="272856"/>
                    <a:pt x="470180" y="272856"/>
                  </a:cubicBezTo>
                  <a:close/>
                  <a:moveTo>
                    <a:pt x="127004" y="272856"/>
                  </a:moveTo>
                  <a:lnTo>
                    <a:pt x="132940" y="272856"/>
                  </a:lnTo>
                  <a:lnTo>
                    <a:pt x="138781" y="272856"/>
                  </a:lnTo>
                  <a:cubicBezTo>
                    <a:pt x="166104" y="272856"/>
                    <a:pt x="188057" y="294963"/>
                    <a:pt x="188057" y="322056"/>
                  </a:cubicBezTo>
                  <a:lnTo>
                    <a:pt x="188057" y="376617"/>
                  </a:lnTo>
                  <a:cubicBezTo>
                    <a:pt x="188057" y="385084"/>
                    <a:pt x="183629" y="392609"/>
                    <a:pt x="177033" y="397031"/>
                  </a:cubicBezTo>
                  <a:lnTo>
                    <a:pt x="177033" y="449711"/>
                  </a:lnTo>
                  <a:cubicBezTo>
                    <a:pt x="177033" y="449993"/>
                    <a:pt x="177128" y="450370"/>
                    <a:pt x="177128" y="450558"/>
                  </a:cubicBezTo>
                  <a:cubicBezTo>
                    <a:pt x="166670" y="457613"/>
                    <a:pt x="155929" y="465609"/>
                    <a:pt x="145376" y="474264"/>
                  </a:cubicBezTo>
                  <a:cubicBezTo>
                    <a:pt x="133034" y="484424"/>
                    <a:pt x="125874" y="499475"/>
                    <a:pt x="125874" y="515561"/>
                  </a:cubicBezTo>
                  <a:lnTo>
                    <a:pt x="125874" y="559493"/>
                  </a:lnTo>
                  <a:lnTo>
                    <a:pt x="0" y="559493"/>
                  </a:lnTo>
                  <a:lnTo>
                    <a:pt x="0" y="522052"/>
                  </a:lnTo>
                  <a:cubicBezTo>
                    <a:pt x="0" y="514150"/>
                    <a:pt x="3486" y="506625"/>
                    <a:pt x="9704" y="501639"/>
                  </a:cubicBezTo>
                  <a:cubicBezTo>
                    <a:pt x="43434" y="473888"/>
                    <a:pt x="79990" y="455450"/>
                    <a:pt x="87433" y="451875"/>
                  </a:cubicBezTo>
                  <a:cubicBezTo>
                    <a:pt x="88281" y="451498"/>
                    <a:pt x="88846" y="450558"/>
                    <a:pt x="88846" y="449711"/>
                  </a:cubicBezTo>
                  <a:lnTo>
                    <a:pt x="88846" y="397031"/>
                  </a:lnTo>
                  <a:cubicBezTo>
                    <a:pt x="82157" y="392609"/>
                    <a:pt x="77729" y="385084"/>
                    <a:pt x="77729" y="376617"/>
                  </a:cubicBezTo>
                  <a:lnTo>
                    <a:pt x="77729" y="322056"/>
                  </a:lnTo>
                  <a:cubicBezTo>
                    <a:pt x="77729" y="294775"/>
                    <a:pt x="99870" y="272856"/>
                    <a:pt x="127004" y="272856"/>
                  </a:cubicBezTo>
                  <a:close/>
                  <a:moveTo>
                    <a:pt x="297600" y="222543"/>
                  </a:moveTo>
                  <a:lnTo>
                    <a:pt x="304477" y="222543"/>
                  </a:lnTo>
                  <a:lnTo>
                    <a:pt x="311260" y="222543"/>
                  </a:lnTo>
                  <a:cubicBezTo>
                    <a:pt x="343291" y="222543"/>
                    <a:pt x="369198" y="248506"/>
                    <a:pt x="369198" y="280395"/>
                  </a:cubicBezTo>
                  <a:lnTo>
                    <a:pt x="369198" y="344455"/>
                  </a:lnTo>
                  <a:cubicBezTo>
                    <a:pt x="369198" y="354520"/>
                    <a:pt x="364017" y="363456"/>
                    <a:pt x="356198" y="368536"/>
                  </a:cubicBezTo>
                  <a:lnTo>
                    <a:pt x="356198" y="430432"/>
                  </a:lnTo>
                  <a:cubicBezTo>
                    <a:pt x="356198" y="431561"/>
                    <a:pt x="356857" y="432502"/>
                    <a:pt x="357893" y="433066"/>
                  </a:cubicBezTo>
                  <a:cubicBezTo>
                    <a:pt x="366655" y="437299"/>
                    <a:pt x="409520" y="459029"/>
                    <a:pt x="449275" y="491576"/>
                  </a:cubicBezTo>
                  <a:cubicBezTo>
                    <a:pt x="456435" y="497502"/>
                    <a:pt x="460580" y="506251"/>
                    <a:pt x="460580" y="515563"/>
                  </a:cubicBezTo>
                  <a:lnTo>
                    <a:pt x="460580" y="559493"/>
                  </a:lnTo>
                  <a:lnTo>
                    <a:pt x="304477" y="559493"/>
                  </a:lnTo>
                  <a:lnTo>
                    <a:pt x="148187" y="559493"/>
                  </a:lnTo>
                  <a:lnTo>
                    <a:pt x="148187" y="515563"/>
                  </a:lnTo>
                  <a:cubicBezTo>
                    <a:pt x="148187" y="506251"/>
                    <a:pt x="152332" y="497502"/>
                    <a:pt x="159492" y="491576"/>
                  </a:cubicBezTo>
                  <a:cubicBezTo>
                    <a:pt x="199342" y="459029"/>
                    <a:pt x="242206" y="437299"/>
                    <a:pt x="250967" y="433066"/>
                  </a:cubicBezTo>
                  <a:cubicBezTo>
                    <a:pt x="252004" y="432502"/>
                    <a:pt x="252569" y="431561"/>
                    <a:pt x="252569" y="430432"/>
                  </a:cubicBezTo>
                  <a:lnTo>
                    <a:pt x="252569" y="368536"/>
                  </a:lnTo>
                  <a:cubicBezTo>
                    <a:pt x="244844" y="363456"/>
                    <a:pt x="239663" y="354520"/>
                    <a:pt x="239663" y="344455"/>
                  </a:cubicBezTo>
                  <a:lnTo>
                    <a:pt x="239663" y="280395"/>
                  </a:lnTo>
                  <a:cubicBezTo>
                    <a:pt x="239663" y="248412"/>
                    <a:pt x="265664" y="222543"/>
                    <a:pt x="297600" y="222543"/>
                  </a:cubicBezTo>
                  <a:close/>
                  <a:moveTo>
                    <a:pt x="492495" y="40775"/>
                  </a:moveTo>
                  <a:cubicBezTo>
                    <a:pt x="488350" y="40775"/>
                    <a:pt x="487596" y="41528"/>
                    <a:pt x="487502" y="45854"/>
                  </a:cubicBezTo>
                  <a:lnTo>
                    <a:pt x="487502" y="51498"/>
                  </a:lnTo>
                  <a:cubicBezTo>
                    <a:pt x="487502" y="57142"/>
                    <a:pt x="487502" y="56953"/>
                    <a:pt x="482038" y="59023"/>
                  </a:cubicBezTo>
                  <a:cubicBezTo>
                    <a:pt x="469036" y="63726"/>
                    <a:pt x="460934" y="72661"/>
                    <a:pt x="460086" y="86864"/>
                  </a:cubicBezTo>
                  <a:cubicBezTo>
                    <a:pt x="459332" y="99374"/>
                    <a:pt x="465833" y="107934"/>
                    <a:pt x="476196" y="114048"/>
                  </a:cubicBezTo>
                  <a:cubicBezTo>
                    <a:pt x="482414" y="117810"/>
                    <a:pt x="489480" y="120068"/>
                    <a:pt x="496264" y="123078"/>
                  </a:cubicBezTo>
                  <a:cubicBezTo>
                    <a:pt x="498902" y="124206"/>
                    <a:pt x="501445" y="125617"/>
                    <a:pt x="503706" y="127310"/>
                  </a:cubicBezTo>
                  <a:cubicBezTo>
                    <a:pt x="510207" y="132578"/>
                    <a:pt x="508982" y="141513"/>
                    <a:pt x="501257" y="144900"/>
                  </a:cubicBezTo>
                  <a:cubicBezTo>
                    <a:pt x="497112" y="146781"/>
                    <a:pt x="492778" y="147157"/>
                    <a:pt x="488350" y="146687"/>
                  </a:cubicBezTo>
                  <a:cubicBezTo>
                    <a:pt x="481472" y="145746"/>
                    <a:pt x="474783" y="144053"/>
                    <a:pt x="468659" y="140761"/>
                  </a:cubicBezTo>
                  <a:cubicBezTo>
                    <a:pt x="464985" y="138880"/>
                    <a:pt x="463949" y="139350"/>
                    <a:pt x="462724" y="143301"/>
                  </a:cubicBezTo>
                  <a:cubicBezTo>
                    <a:pt x="461593" y="146687"/>
                    <a:pt x="460557" y="150167"/>
                    <a:pt x="459709" y="153553"/>
                  </a:cubicBezTo>
                  <a:cubicBezTo>
                    <a:pt x="458484" y="158162"/>
                    <a:pt x="458861" y="159291"/>
                    <a:pt x="463572" y="161548"/>
                  </a:cubicBezTo>
                  <a:cubicBezTo>
                    <a:pt x="469130" y="164370"/>
                    <a:pt x="475160" y="165687"/>
                    <a:pt x="481284" y="166722"/>
                  </a:cubicBezTo>
                  <a:cubicBezTo>
                    <a:pt x="486089" y="167474"/>
                    <a:pt x="486371" y="167568"/>
                    <a:pt x="486371" y="172647"/>
                  </a:cubicBezTo>
                  <a:lnTo>
                    <a:pt x="486371" y="179420"/>
                  </a:lnTo>
                  <a:cubicBezTo>
                    <a:pt x="486371" y="182147"/>
                    <a:pt x="487690" y="183934"/>
                    <a:pt x="490611" y="183934"/>
                  </a:cubicBezTo>
                  <a:cubicBezTo>
                    <a:pt x="493908" y="184029"/>
                    <a:pt x="497300" y="184029"/>
                    <a:pt x="500503" y="183934"/>
                  </a:cubicBezTo>
                  <a:cubicBezTo>
                    <a:pt x="503330" y="183934"/>
                    <a:pt x="504649" y="182430"/>
                    <a:pt x="504649" y="179608"/>
                  </a:cubicBezTo>
                  <a:cubicBezTo>
                    <a:pt x="504649" y="176504"/>
                    <a:pt x="504837" y="173494"/>
                    <a:pt x="504649" y="170390"/>
                  </a:cubicBezTo>
                  <a:cubicBezTo>
                    <a:pt x="504554" y="167192"/>
                    <a:pt x="505968" y="165687"/>
                    <a:pt x="508982" y="164840"/>
                  </a:cubicBezTo>
                  <a:cubicBezTo>
                    <a:pt x="515860" y="162959"/>
                    <a:pt x="521889" y="159197"/>
                    <a:pt x="526412" y="153647"/>
                  </a:cubicBezTo>
                  <a:cubicBezTo>
                    <a:pt x="538942" y="138221"/>
                    <a:pt x="534231" y="115835"/>
                    <a:pt x="516237" y="105865"/>
                  </a:cubicBezTo>
                  <a:cubicBezTo>
                    <a:pt x="510584" y="102761"/>
                    <a:pt x="504554" y="100503"/>
                    <a:pt x="498619" y="97964"/>
                  </a:cubicBezTo>
                  <a:cubicBezTo>
                    <a:pt x="495227" y="96647"/>
                    <a:pt x="492024" y="94860"/>
                    <a:pt x="489104" y="92602"/>
                  </a:cubicBezTo>
                  <a:cubicBezTo>
                    <a:pt x="483451" y="88087"/>
                    <a:pt x="484581" y="80657"/>
                    <a:pt x="491270" y="77835"/>
                  </a:cubicBezTo>
                  <a:cubicBezTo>
                    <a:pt x="493155" y="76894"/>
                    <a:pt x="495133" y="76706"/>
                    <a:pt x="497112" y="76518"/>
                  </a:cubicBezTo>
                  <a:cubicBezTo>
                    <a:pt x="504931" y="76142"/>
                    <a:pt x="512186" y="77553"/>
                    <a:pt x="519252" y="80939"/>
                  </a:cubicBezTo>
                  <a:cubicBezTo>
                    <a:pt x="522643" y="82538"/>
                    <a:pt x="523868" y="82067"/>
                    <a:pt x="524998" y="78399"/>
                  </a:cubicBezTo>
                  <a:cubicBezTo>
                    <a:pt x="526317" y="74543"/>
                    <a:pt x="527260" y="70686"/>
                    <a:pt x="528390" y="66736"/>
                  </a:cubicBezTo>
                  <a:cubicBezTo>
                    <a:pt x="529144" y="64102"/>
                    <a:pt x="528296" y="62503"/>
                    <a:pt x="525752" y="61374"/>
                  </a:cubicBezTo>
                  <a:cubicBezTo>
                    <a:pt x="521230" y="59399"/>
                    <a:pt x="516708" y="57988"/>
                    <a:pt x="511809" y="57236"/>
                  </a:cubicBezTo>
                  <a:cubicBezTo>
                    <a:pt x="505402" y="56201"/>
                    <a:pt x="505402" y="56201"/>
                    <a:pt x="505402" y="49805"/>
                  </a:cubicBezTo>
                  <a:cubicBezTo>
                    <a:pt x="505402" y="40775"/>
                    <a:pt x="505402" y="40775"/>
                    <a:pt x="496358" y="40775"/>
                  </a:cubicBezTo>
                  <a:close/>
                  <a:moveTo>
                    <a:pt x="496111" y="0"/>
                  </a:moveTo>
                  <a:cubicBezTo>
                    <a:pt x="524951" y="0"/>
                    <a:pt x="553781" y="10958"/>
                    <a:pt x="575779" y="32874"/>
                  </a:cubicBezTo>
                  <a:cubicBezTo>
                    <a:pt x="619776" y="76894"/>
                    <a:pt x="619776" y="148192"/>
                    <a:pt x="575779" y="192024"/>
                  </a:cubicBezTo>
                  <a:cubicBezTo>
                    <a:pt x="538754" y="229083"/>
                    <a:pt x="482226" y="234821"/>
                    <a:pt x="438982" y="209519"/>
                  </a:cubicBezTo>
                  <a:lnTo>
                    <a:pt x="438700" y="209237"/>
                  </a:lnTo>
                  <a:cubicBezTo>
                    <a:pt x="421742" y="222029"/>
                    <a:pt x="403559" y="224286"/>
                    <a:pt x="390840" y="222311"/>
                  </a:cubicBezTo>
                  <a:cubicBezTo>
                    <a:pt x="386600" y="221653"/>
                    <a:pt x="385752" y="215915"/>
                    <a:pt x="389615" y="214034"/>
                  </a:cubicBezTo>
                  <a:cubicBezTo>
                    <a:pt x="401297" y="208202"/>
                    <a:pt x="408552" y="196915"/>
                    <a:pt x="412886" y="187791"/>
                  </a:cubicBezTo>
                  <a:lnTo>
                    <a:pt x="411567" y="187038"/>
                  </a:lnTo>
                  <a:cubicBezTo>
                    <a:pt x="372374" y="142736"/>
                    <a:pt x="374070" y="75201"/>
                    <a:pt x="416371" y="32874"/>
                  </a:cubicBezTo>
                  <a:cubicBezTo>
                    <a:pt x="438417" y="10958"/>
                    <a:pt x="467270" y="0"/>
                    <a:pt x="496111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</p:grp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操作系统与用户之间的接口</a:t>
            </a:r>
          </a:p>
        </p:txBody>
      </p:sp>
      <p:sp>
        <p:nvSpPr>
          <p:cNvPr id="13" name="íSľïdé"/>
          <p:cNvSpPr/>
          <p:nvPr/>
        </p:nvSpPr>
        <p:spPr>
          <a:xfrm>
            <a:off x="1906927" y="1924829"/>
            <a:ext cx="567702" cy="51193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200" kern="1200"/>
          </a:p>
        </p:txBody>
      </p:sp>
      <p:sp>
        <p:nvSpPr>
          <p:cNvPr id="14" name="ïŝļíḓê"/>
          <p:cNvSpPr/>
          <p:nvPr/>
        </p:nvSpPr>
        <p:spPr bwMode="auto">
          <a:xfrm>
            <a:off x="8689292" y="2556677"/>
            <a:ext cx="556774" cy="553604"/>
          </a:xfrm>
          <a:custGeom>
            <a:avLst/>
            <a:gdLst>
              <a:gd name="T0" fmla="*/ 3682 w 4808"/>
              <a:gd name="T1" fmla="*/ 2763 h 4789"/>
              <a:gd name="T2" fmla="*/ 3420 w 4808"/>
              <a:gd name="T3" fmla="*/ 2703 h 4789"/>
              <a:gd name="T4" fmla="*/ 3026 w 4808"/>
              <a:gd name="T5" fmla="*/ 2392 h 4789"/>
              <a:gd name="T6" fmla="*/ 2818 w 4808"/>
              <a:gd name="T7" fmla="*/ 2517 h 4789"/>
              <a:gd name="T8" fmla="*/ 3219 w 4808"/>
              <a:gd name="T9" fmla="*/ 1876 h 4789"/>
              <a:gd name="T10" fmla="*/ 3609 w 4808"/>
              <a:gd name="T11" fmla="*/ 1953 h 4789"/>
              <a:gd name="T12" fmla="*/ 4553 w 4808"/>
              <a:gd name="T13" fmla="*/ 720 h 4789"/>
              <a:gd name="T14" fmla="*/ 4388 w 4808"/>
              <a:gd name="T15" fmla="*/ 680 h 4789"/>
              <a:gd name="T16" fmla="*/ 3872 w 4808"/>
              <a:gd name="T17" fmla="*/ 1161 h 4789"/>
              <a:gd name="T18" fmla="*/ 3859 w 4808"/>
              <a:gd name="T19" fmla="*/ 1160 h 4789"/>
              <a:gd name="T20" fmla="*/ 3491 w 4808"/>
              <a:gd name="T21" fmla="*/ 1099 h 4789"/>
              <a:gd name="T22" fmla="*/ 3432 w 4808"/>
              <a:gd name="T23" fmla="*/ 731 h 4789"/>
              <a:gd name="T24" fmla="*/ 3454 w 4808"/>
              <a:gd name="T25" fmla="*/ 658 h 4789"/>
              <a:gd name="T26" fmla="*/ 3938 w 4808"/>
              <a:gd name="T27" fmla="*/ 104 h 4789"/>
              <a:gd name="T28" fmla="*/ 3609 w 4808"/>
              <a:gd name="T29" fmla="*/ 0 h 4789"/>
              <a:gd name="T30" fmla="*/ 2710 w 4808"/>
              <a:gd name="T31" fmla="*/ 1369 h 4789"/>
              <a:gd name="T32" fmla="*/ 1300 w 4808"/>
              <a:gd name="T33" fmla="*/ 999 h 4789"/>
              <a:gd name="T34" fmla="*/ 1309 w 4808"/>
              <a:gd name="T35" fmla="*/ 892 h 4789"/>
              <a:gd name="T36" fmla="*/ 865 w 4808"/>
              <a:gd name="T37" fmla="*/ 294 h 4789"/>
              <a:gd name="T38" fmla="*/ 665 w 4808"/>
              <a:gd name="T39" fmla="*/ 298 h 4789"/>
              <a:gd name="T40" fmla="*/ 278 w 4808"/>
              <a:gd name="T41" fmla="*/ 787 h 4789"/>
              <a:gd name="T42" fmla="*/ 630 w 4808"/>
              <a:gd name="T43" fmla="*/ 1163 h 4789"/>
              <a:gd name="T44" fmla="*/ 926 w 4808"/>
              <a:gd name="T45" fmla="*/ 1291 h 4789"/>
              <a:gd name="T46" fmla="*/ 1018 w 4808"/>
              <a:gd name="T47" fmla="*/ 1282 h 4789"/>
              <a:gd name="T48" fmla="*/ 1485 w 4808"/>
              <a:gd name="T49" fmla="*/ 2594 h 4789"/>
              <a:gd name="T50" fmla="*/ 1037 w 4808"/>
              <a:gd name="T51" fmla="*/ 2572 h 4789"/>
              <a:gd name="T52" fmla="*/ 92 w 4808"/>
              <a:gd name="T53" fmla="*/ 3809 h 4789"/>
              <a:gd name="T54" fmla="*/ 186 w 4808"/>
              <a:gd name="T55" fmla="*/ 3882 h 4789"/>
              <a:gd name="T56" fmla="*/ 727 w 4808"/>
              <a:gd name="T57" fmla="*/ 3384 h 4789"/>
              <a:gd name="T58" fmla="*/ 789 w 4808"/>
              <a:gd name="T59" fmla="*/ 3371 h 4789"/>
              <a:gd name="T60" fmla="*/ 796 w 4808"/>
              <a:gd name="T61" fmla="*/ 3372 h 4789"/>
              <a:gd name="T62" fmla="*/ 1218 w 4808"/>
              <a:gd name="T63" fmla="*/ 3798 h 4789"/>
              <a:gd name="T64" fmla="*/ 1192 w 4808"/>
              <a:gd name="T65" fmla="*/ 3873 h 4789"/>
              <a:gd name="T66" fmla="*/ 707 w 4808"/>
              <a:gd name="T67" fmla="*/ 4427 h 4789"/>
              <a:gd name="T68" fmla="*/ 1037 w 4808"/>
              <a:gd name="T69" fmla="*/ 4531 h 4789"/>
              <a:gd name="T70" fmla="*/ 2016 w 4808"/>
              <a:gd name="T71" fmla="*/ 3551 h 4789"/>
              <a:gd name="T72" fmla="*/ 1994 w 4808"/>
              <a:gd name="T73" fmla="*/ 3103 h 4789"/>
              <a:gd name="T74" fmla="*/ 2535 w 4808"/>
              <a:gd name="T75" fmla="*/ 2799 h 4789"/>
              <a:gd name="T76" fmla="*/ 2410 w 4808"/>
              <a:gd name="T77" fmla="*/ 3007 h 4789"/>
              <a:gd name="T78" fmla="*/ 2721 w 4808"/>
              <a:gd name="T79" fmla="*/ 3401 h 4789"/>
              <a:gd name="T80" fmla="*/ 2781 w 4808"/>
              <a:gd name="T81" fmla="*/ 3663 h 4789"/>
              <a:gd name="T82" fmla="*/ 4013 w 4808"/>
              <a:gd name="T83" fmla="*/ 4789 h 4789"/>
              <a:gd name="T84" fmla="*/ 4734 w 4808"/>
              <a:gd name="T85" fmla="*/ 4173 h 4789"/>
              <a:gd name="T86" fmla="*/ 4734 w 4808"/>
              <a:gd name="T87" fmla="*/ 3815 h 4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808" h="4789">
                <a:moveTo>
                  <a:pt x="4734" y="3815"/>
                </a:moveTo>
                <a:lnTo>
                  <a:pt x="3682" y="2763"/>
                </a:lnTo>
                <a:cubicBezTo>
                  <a:pt x="3634" y="2715"/>
                  <a:pt x="3570" y="2689"/>
                  <a:pt x="3502" y="2689"/>
                </a:cubicBezTo>
                <a:cubicBezTo>
                  <a:pt x="3474" y="2689"/>
                  <a:pt x="3446" y="2694"/>
                  <a:pt x="3420" y="2703"/>
                </a:cubicBezTo>
                <a:lnTo>
                  <a:pt x="3167" y="2450"/>
                </a:lnTo>
                <a:cubicBezTo>
                  <a:pt x="3130" y="2413"/>
                  <a:pt x="3079" y="2392"/>
                  <a:pt x="3026" y="2392"/>
                </a:cubicBezTo>
                <a:cubicBezTo>
                  <a:pt x="2972" y="2392"/>
                  <a:pt x="2922" y="2413"/>
                  <a:pt x="2884" y="2450"/>
                </a:cubicBezTo>
                <a:lnTo>
                  <a:pt x="2818" y="2517"/>
                </a:lnTo>
                <a:lnTo>
                  <a:pt x="2699" y="2398"/>
                </a:lnTo>
                <a:lnTo>
                  <a:pt x="3219" y="1876"/>
                </a:lnTo>
                <a:cubicBezTo>
                  <a:pt x="3340" y="1928"/>
                  <a:pt x="3472" y="1953"/>
                  <a:pt x="3609" y="1953"/>
                </a:cubicBezTo>
                <a:lnTo>
                  <a:pt x="3609" y="1953"/>
                </a:lnTo>
                <a:cubicBezTo>
                  <a:pt x="3870" y="1953"/>
                  <a:pt x="4116" y="1854"/>
                  <a:pt x="4301" y="1669"/>
                </a:cubicBezTo>
                <a:cubicBezTo>
                  <a:pt x="4549" y="1421"/>
                  <a:pt x="4646" y="1059"/>
                  <a:pt x="4553" y="720"/>
                </a:cubicBezTo>
                <a:cubicBezTo>
                  <a:pt x="4542" y="678"/>
                  <a:pt x="4502" y="648"/>
                  <a:pt x="4459" y="648"/>
                </a:cubicBezTo>
                <a:cubicBezTo>
                  <a:pt x="4441" y="648"/>
                  <a:pt x="4413" y="654"/>
                  <a:pt x="4388" y="680"/>
                </a:cubicBezTo>
                <a:cubicBezTo>
                  <a:pt x="4384" y="683"/>
                  <a:pt x="4034" y="1030"/>
                  <a:pt x="3918" y="1146"/>
                </a:cubicBezTo>
                <a:cubicBezTo>
                  <a:pt x="3906" y="1159"/>
                  <a:pt x="3885" y="1161"/>
                  <a:pt x="3872" y="1161"/>
                </a:cubicBezTo>
                <a:cubicBezTo>
                  <a:pt x="3864" y="1161"/>
                  <a:pt x="3859" y="1160"/>
                  <a:pt x="3859" y="1160"/>
                </a:cubicBezTo>
                <a:lnTo>
                  <a:pt x="3859" y="1160"/>
                </a:lnTo>
                <a:lnTo>
                  <a:pt x="3851" y="1159"/>
                </a:lnTo>
                <a:cubicBezTo>
                  <a:pt x="3707" y="1146"/>
                  <a:pt x="3535" y="1119"/>
                  <a:pt x="3491" y="1099"/>
                </a:cubicBezTo>
                <a:cubicBezTo>
                  <a:pt x="3470" y="1055"/>
                  <a:pt x="3445" y="879"/>
                  <a:pt x="3432" y="733"/>
                </a:cubicBezTo>
                <a:lnTo>
                  <a:pt x="3432" y="731"/>
                </a:lnTo>
                <a:lnTo>
                  <a:pt x="3429" y="727"/>
                </a:lnTo>
                <a:cubicBezTo>
                  <a:pt x="3428" y="720"/>
                  <a:pt x="3425" y="687"/>
                  <a:pt x="3454" y="658"/>
                </a:cubicBezTo>
                <a:cubicBezTo>
                  <a:pt x="3574" y="538"/>
                  <a:pt x="3905" y="204"/>
                  <a:pt x="3908" y="201"/>
                </a:cubicBezTo>
                <a:cubicBezTo>
                  <a:pt x="3936" y="173"/>
                  <a:pt x="3947" y="138"/>
                  <a:pt x="3938" y="104"/>
                </a:cubicBezTo>
                <a:cubicBezTo>
                  <a:pt x="3927" y="64"/>
                  <a:pt x="3893" y="42"/>
                  <a:pt x="3865" y="34"/>
                </a:cubicBezTo>
                <a:cubicBezTo>
                  <a:pt x="3782" y="11"/>
                  <a:pt x="3695" y="0"/>
                  <a:pt x="3609" y="0"/>
                </a:cubicBezTo>
                <a:cubicBezTo>
                  <a:pt x="3347" y="0"/>
                  <a:pt x="3101" y="102"/>
                  <a:pt x="2916" y="287"/>
                </a:cubicBezTo>
                <a:cubicBezTo>
                  <a:pt x="2624" y="579"/>
                  <a:pt x="2555" y="1011"/>
                  <a:pt x="2710" y="1369"/>
                </a:cubicBezTo>
                <a:lnTo>
                  <a:pt x="2190" y="1889"/>
                </a:lnTo>
                <a:lnTo>
                  <a:pt x="1300" y="999"/>
                </a:lnTo>
                <a:cubicBezTo>
                  <a:pt x="1300" y="998"/>
                  <a:pt x="1299" y="998"/>
                  <a:pt x="1299" y="997"/>
                </a:cubicBezTo>
                <a:cubicBezTo>
                  <a:pt x="1307" y="963"/>
                  <a:pt x="1311" y="928"/>
                  <a:pt x="1309" y="892"/>
                </a:cubicBezTo>
                <a:cubicBezTo>
                  <a:pt x="1305" y="788"/>
                  <a:pt x="1260" y="689"/>
                  <a:pt x="1182" y="611"/>
                </a:cubicBezTo>
                <a:lnTo>
                  <a:pt x="865" y="294"/>
                </a:lnTo>
                <a:cubicBezTo>
                  <a:pt x="858" y="288"/>
                  <a:pt x="821" y="253"/>
                  <a:pt x="766" y="253"/>
                </a:cubicBezTo>
                <a:cubicBezTo>
                  <a:pt x="740" y="253"/>
                  <a:pt x="702" y="261"/>
                  <a:pt x="665" y="298"/>
                </a:cubicBezTo>
                <a:lnTo>
                  <a:pt x="318" y="645"/>
                </a:lnTo>
                <a:cubicBezTo>
                  <a:pt x="277" y="685"/>
                  <a:pt x="263" y="737"/>
                  <a:pt x="278" y="787"/>
                </a:cubicBezTo>
                <a:cubicBezTo>
                  <a:pt x="288" y="820"/>
                  <a:pt x="308" y="842"/>
                  <a:pt x="314" y="848"/>
                </a:cubicBezTo>
                <a:lnTo>
                  <a:pt x="630" y="1163"/>
                </a:lnTo>
                <a:cubicBezTo>
                  <a:pt x="712" y="1246"/>
                  <a:pt x="817" y="1291"/>
                  <a:pt x="926" y="1291"/>
                </a:cubicBezTo>
                <a:lnTo>
                  <a:pt x="926" y="1291"/>
                </a:lnTo>
                <a:cubicBezTo>
                  <a:pt x="957" y="1291"/>
                  <a:pt x="987" y="1287"/>
                  <a:pt x="1016" y="1280"/>
                </a:cubicBezTo>
                <a:cubicBezTo>
                  <a:pt x="1017" y="1281"/>
                  <a:pt x="1017" y="1281"/>
                  <a:pt x="1018" y="1282"/>
                </a:cubicBezTo>
                <a:lnTo>
                  <a:pt x="1907" y="2171"/>
                </a:lnTo>
                <a:lnTo>
                  <a:pt x="1485" y="2594"/>
                </a:lnTo>
                <a:cubicBezTo>
                  <a:pt x="1466" y="2613"/>
                  <a:pt x="1449" y="2634"/>
                  <a:pt x="1435" y="2656"/>
                </a:cubicBezTo>
                <a:cubicBezTo>
                  <a:pt x="1311" y="2601"/>
                  <a:pt x="1176" y="2572"/>
                  <a:pt x="1037" y="2572"/>
                </a:cubicBezTo>
                <a:cubicBezTo>
                  <a:pt x="775" y="2572"/>
                  <a:pt x="529" y="2674"/>
                  <a:pt x="344" y="2859"/>
                </a:cubicBezTo>
                <a:cubicBezTo>
                  <a:pt x="96" y="3106"/>
                  <a:pt x="0" y="3471"/>
                  <a:pt x="92" y="3809"/>
                </a:cubicBezTo>
                <a:cubicBezTo>
                  <a:pt x="103" y="3852"/>
                  <a:pt x="143" y="3882"/>
                  <a:pt x="186" y="3882"/>
                </a:cubicBezTo>
                <a:lnTo>
                  <a:pt x="186" y="3882"/>
                </a:lnTo>
                <a:cubicBezTo>
                  <a:pt x="204" y="3882"/>
                  <a:pt x="232" y="3877"/>
                  <a:pt x="258" y="3851"/>
                </a:cubicBezTo>
                <a:cubicBezTo>
                  <a:pt x="261" y="3847"/>
                  <a:pt x="611" y="3500"/>
                  <a:pt x="727" y="3384"/>
                </a:cubicBezTo>
                <a:cubicBezTo>
                  <a:pt x="740" y="3372"/>
                  <a:pt x="762" y="3370"/>
                  <a:pt x="774" y="3370"/>
                </a:cubicBezTo>
                <a:cubicBezTo>
                  <a:pt x="783" y="3370"/>
                  <a:pt x="789" y="3371"/>
                  <a:pt x="789" y="3371"/>
                </a:cubicBezTo>
                <a:lnTo>
                  <a:pt x="789" y="3371"/>
                </a:lnTo>
                <a:lnTo>
                  <a:pt x="796" y="3372"/>
                </a:lnTo>
                <a:cubicBezTo>
                  <a:pt x="940" y="3385"/>
                  <a:pt x="1113" y="3411"/>
                  <a:pt x="1157" y="3431"/>
                </a:cubicBezTo>
                <a:cubicBezTo>
                  <a:pt x="1178" y="3475"/>
                  <a:pt x="1205" y="3652"/>
                  <a:pt x="1218" y="3798"/>
                </a:cubicBezTo>
                <a:lnTo>
                  <a:pt x="1219" y="3805"/>
                </a:lnTo>
                <a:cubicBezTo>
                  <a:pt x="1219" y="3805"/>
                  <a:pt x="1223" y="3842"/>
                  <a:pt x="1192" y="3873"/>
                </a:cubicBezTo>
                <a:cubicBezTo>
                  <a:pt x="1072" y="3993"/>
                  <a:pt x="741" y="4327"/>
                  <a:pt x="738" y="4330"/>
                </a:cubicBezTo>
                <a:cubicBezTo>
                  <a:pt x="710" y="4358"/>
                  <a:pt x="699" y="4393"/>
                  <a:pt x="707" y="4427"/>
                </a:cubicBezTo>
                <a:cubicBezTo>
                  <a:pt x="718" y="4467"/>
                  <a:pt x="752" y="4489"/>
                  <a:pt x="780" y="4497"/>
                </a:cubicBezTo>
                <a:cubicBezTo>
                  <a:pt x="864" y="4519"/>
                  <a:pt x="950" y="4531"/>
                  <a:pt x="1037" y="4531"/>
                </a:cubicBezTo>
                <a:cubicBezTo>
                  <a:pt x="1298" y="4531"/>
                  <a:pt x="1544" y="4429"/>
                  <a:pt x="1729" y="4244"/>
                </a:cubicBezTo>
                <a:cubicBezTo>
                  <a:pt x="1914" y="4059"/>
                  <a:pt x="2016" y="3813"/>
                  <a:pt x="2016" y="3551"/>
                </a:cubicBezTo>
                <a:cubicBezTo>
                  <a:pt x="2016" y="3412"/>
                  <a:pt x="1987" y="3277"/>
                  <a:pt x="1932" y="3153"/>
                </a:cubicBezTo>
                <a:cubicBezTo>
                  <a:pt x="1954" y="3139"/>
                  <a:pt x="1975" y="3122"/>
                  <a:pt x="1994" y="3103"/>
                </a:cubicBezTo>
                <a:lnTo>
                  <a:pt x="2417" y="2681"/>
                </a:lnTo>
                <a:lnTo>
                  <a:pt x="2535" y="2799"/>
                </a:lnTo>
                <a:lnTo>
                  <a:pt x="2469" y="2866"/>
                </a:lnTo>
                <a:cubicBezTo>
                  <a:pt x="2431" y="2904"/>
                  <a:pt x="2410" y="2954"/>
                  <a:pt x="2410" y="3007"/>
                </a:cubicBezTo>
                <a:cubicBezTo>
                  <a:pt x="2410" y="3061"/>
                  <a:pt x="2431" y="3111"/>
                  <a:pt x="2469" y="3149"/>
                </a:cubicBezTo>
                <a:lnTo>
                  <a:pt x="2721" y="3401"/>
                </a:lnTo>
                <a:cubicBezTo>
                  <a:pt x="2712" y="3427"/>
                  <a:pt x="2707" y="3455"/>
                  <a:pt x="2707" y="3484"/>
                </a:cubicBezTo>
                <a:cubicBezTo>
                  <a:pt x="2707" y="3552"/>
                  <a:pt x="2734" y="3615"/>
                  <a:pt x="2781" y="3663"/>
                </a:cubicBezTo>
                <a:lnTo>
                  <a:pt x="3834" y="4715"/>
                </a:lnTo>
                <a:cubicBezTo>
                  <a:pt x="3881" y="4763"/>
                  <a:pt x="3945" y="4789"/>
                  <a:pt x="4013" y="4789"/>
                </a:cubicBezTo>
                <a:cubicBezTo>
                  <a:pt x="4081" y="4789"/>
                  <a:pt x="4144" y="4763"/>
                  <a:pt x="4192" y="4715"/>
                </a:cubicBezTo>
                <a:lnTo>
                  <a:pt x="4734" y="4173"/>
                </a:lnTo>
                <a:cubicBezTo>
                  <a:pt x="4782" y="4126"/>
                  <a:pt x="4808" y="4062"/>
                  <a:pt x="4808" y="3994"/>
                </a:cubicBezTo>
                <a:cubicBezTo>
                  <a:pt x="4808" y="3926"/>
                  <a:pt x="4782" y="3863"/>
                  <a:pt x="4734" y="38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/>
          </a:p>
        </p:txBody>
      </p:sp>
      <p:sp>
        <p:nvSpPr>
          <p:cNvPr id="15" name="îṧľîdé"/>
          <p:cNvSpPr/>
          <p:nvPr/>
        </p:nvSpPr>
        <p:spPr>
          <a:xfrm>
            <a:off x="3612380" y="1924829"/>
            <a:ext cx="4034934" cy="2095500"/>
          </a:xfrm>
          <a:prstGeom prst="leftRightRibbon">
            <a:avLst>
              <a:gd name="adj1" fmla="val 50000"/>
              <a:gd name="adj2" fmla="val 50000"/>
              <a:gd name="adj3" fmla="val 33333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16" name="内容占位符 2"/>
          <p:cNvSpPr txBox="1"/>
          <p:nvPr/>
        </p:nvSpPr>
        <p:spPr>
          <a:xfrm>
            <a:off x="894703" y="2556676"/>
            <a:ext cx="4308362" cy="308426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300"/>
              </a:spcBef>
              <a:buNone/>
              <a:defRPr/>
            </a:pPr>
            <a:r>
              <a:rPr lang="zh-CN" altLang="en-US" sz="2500" dirty="0">
                <a:solidFill>
                  <a:srgbClr val="FF0000"/>
                </a:solidFill>
              </a:rPr>
              <a:t>用户接口</a:t>
            </a:r>
          </a:p>
          <a:p>
            <a:pPr marL="342900" lvl="1" indent="-342900">
              <a:lnSpc>
                <a:spcPct val="132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联机用户接口</a:t>
            </a:r>
          </a:p>
          <a:p>
            <a:pPr marL="800100" lvl="2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命令行方式</a:t>
            </a:r>
            <a:r>
              <a:rPr lang="en-US" altLang="zh-CN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I</a:t>
            </a: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。</a:t>
            </a:r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脱机用户接口</a:t>
            </a:r>
          </a:p>
          <a:p>
            <a:pPr marL="800100" lvl="2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批处理系统：作业说明书（作业控制语言</a:t>
            </a:r>
            <a:r>
              <a:rPr lang="en-US" altLang="zh-CN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JCL</a:t>
            </a: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）。</a:t>
            </a:r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图形用户接口</a:t>
            </a:r>
            <a:r>
              <a:rPr lang="en-US" altLang="zh-CN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UI</a:t>
            </a:r>
          </a:p>
        </p:txBody>
      </p:sp>
      <p:sp>
        <p:nvSpPr>
          <p:cNvPr id="17" name="内容占位符 2"/>
          <p:cNvSpPr txBox="1"/>
          <p:nvPr/>
        </p:nvSpPr>
        <p:spPr>
          <a:xfrm>
            <a:off x="8129918" y="3209288"/>
            <a:ext cx="3216369" cy="263480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spcBef>
                <a:spcPts val="580"/>
              </a:spcBef>
              <a:buNone/>
              <a:defRPr/>
            </a:pPr>
            <a:r>
              <a:rPr lang="zh-CN" altLang="en-US" sz="2500" dirty="0">
                <a:solidFill>
                  <a:srgbClr val="FF0000"/>
                </a:solidFill>
              </a:rPr>
              <a:t>程序接口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系统调用：能完成特定功能的子程序。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现代操作系统的新功能</a:t>
            </a:r>
          </a:p>
        </p:txBody>
      </p:sp>
      <p:sp>
        <p:nvSpPr>
          <p:cNvPr id="39" name="îśḻiďé"/>
          <p:cNvSpPr/>
          <p:nvPr/>
        </p:nvSpPr>
        <p:spPr bwMode="auto">
          <a:xfrm>
            <a:off x="2335862" y="1788829"/>
            <a:ext cx="846430" cy="84643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40" name="išľiďe"/>
          <p:cNvSpPr/>
          <p:nvPr/>
        </p:nvSpPr>
        <p:spPr bwMode="auto">
          <a:xfrm>
            <a:off x="2938745" y="3230616"/>
            <a:ext cx="847397" cy="84643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43" name="íśľîḋé"/>
          <p:cNvSpPr/>
          <p:nvPr/>
        </p:nvSpPr>
        <p:spPr bwMode="auto">
          <a:xfrm>
            <a:off x="2341979" y="4674977"/>
            <a:ext cx="846430" cy="8473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44" name="ïṡḷidè"/>
          <p:cNvSpPr/>
          <p:nvPr/>
        </p:nvSpPr>
        <p:spPr bwMode="auto">
          <a:xfrm>
            <a:off x="3190088" y="3481736"/>
            <a:ext cx="344710" cy="344189"/>
          </a:xfrm>
          <a:custGeom>
            <a:avLst/>
            <a:gdLst>
              <a:gd name="connsiteX0" fmla="*/ 106370 w 607639"/>
              <a:gd name="connsiteY0" fmla="*/ 436610 h 606722"/>
              <a:gd name="connsiteX1" fmla="*/ 61329 w 607639"/>
              <a:gd name="connsiteY1" fmla="*/ 480515 h 606722"/>
              <a:gd name="connsiteX2" fmla="*/ 126397 w 607639"/>
              <a:gd name="connsiteY2" fmla="*/ 545485 h 606722"/>
              <a:gd name="connsiteX3" fmla="*/ 170369 w 607639"/>
              <a:gd name="connsiteY3" fmla="*/ 500513 h 606722"/>
              <a:gd name="connsiteX4" fmla="*/ 455714 w 607639"/>
              <a:gd name="connsiteY4" fmla="*/ 404481 h 606722"/>
              <a:gd name="connsiteX5" fmla="*/ 531614 w 607639"/>
              <a:gd name="connsiteY5" fmla="*/ 404481 h 606722"/>
              <a:gd name="connsiteX6" fmla="*/ 531703 w 607639"/>
              <a:gd name="connsiteY6" fmla="*/ 404481 h 606722"/>
              <a:gd name="connsiteX7" fmla="*/ 531792 w 607639"/>
              <a:gd name="connsiteY7" fmla="*/ 404481 h 606722"/>
              <a:gd name="connsiteX8" fmla="*/ 548075 w 607639"/>
              <a:gd name="connsiteY8" fmla="*/ 410525 h 606722"/>
              <a:gd name="connsiteX9" fmla="*/ 551456 w 607639"/>
              <a:gd name="connsiteY9" fmla="*/ 413991 h 606722"/>
              <a:gd name="connsiteX10" fmla="*/ 556973 w 607639"/>
              <a:gd name="connsiteY10" fmla="*/ 429012 h 606722"/>
              <a:gd name="connsiteX11" fmla="*/ 556973 w 607639"/>
              <a:gd name="connsiteY11" fmla="*/ 429811 h 606722"/>
              <a:gd name="connsiteX12" fmla="*/ 556973 w 607639"/>
              <a:gd name="connsiteY12" fmla="*/ 505625 h 606722"/>
              <a:gd name="connsiteX13" fmla="*/ 531614 w 607639"/>
              <a:gd name="connsiteY13" fmla="*/ 530867 h 606722"/>
              <a:gd name="connsiteX14" fmla="*/ 506343 w 607639"/>
              <a:gd name="connsiteY14" fmla="*/ 505625 h 606722"/>
              <a:gd name="connsiteX15" fmla="*/ 476001 w 607639"/>
              <a:gd name="connsiteY15" fmla="*/ 546065 h 606722"/>
              <a:gd name="connsiteX16" fmla="*/ 455714 w 607639"/>
              <a:gd name="connsiteY16" fmla="*/ 556197 h 606722"/>
              <a:gd name="connsiteX17" fmla="*/ 440498 w 607639"/>
              <a:gd name="connsiteY17" fmla="*/ 551131 h 606722"/>
              <a:gd name="connsiteX18" fmla="*/ 435515 w 607639"/>
              <a:gd name="connsiteY18" fmla="*/ 515757 h 606722"/>
              <a:gd name="connsiteX19" fmla="*/ 481073 w 607639"/>
              <a:gd name="connsiteY19" fmla="*/ 455053 h 606722"/>
              <a:gd name="connsiteX20" fmla="*/ 455714 w 607639"/>
              <a:gd name="connsiteY20" fmla="*/ 455053 h 606722"/>
              <a:gd name="connsiteX21" fmla="*/ 430443 w 607639"/>
              <a:gd name="connsiteY21" fmla="*/ 429811 h 606722"/>
              <a:gd name="connsiteX22" fmla="*/ 455714 w 607639"/>
              <a:gd name="connsiteY22" fmla="*/ 404481 h 606722"/>
              <a:gd name="connsiteX23" fmla="*/ 157786 w 607639"/>
              <a:gd name="connsiteY23" fmla="*/ 282117 h 606722"/>
              <a:gd name="connsiteX24" fmla="*/ 175710 w 607639"/>
              <a:gd name="connsiteY24" fmla="*/ 289516 h 606722"/>
              <a:gd name="connsiteX25" fmla="*/ 317685 w 607639"/>
              <a:gd name="connsiteY25" fmla="*/ 431277 h 606722"/>
              <a:gd name="connsiteX26" fmla="*/ 317685 w 607639"/>
              <a:gd name="connsiteY26" fmla="*/ 467006 h 606722"/>
              <a:gd name="connsiteX27" fmla="*/ 245229 w 607639"/>
              <a:gd name="connsiteY27" fmla="*/ 539441 h 606722"/>
              <a:gd name="connsiteX28" fmla="*/ 227248 w 607639"/>
              <a:gd name="connsiteY28" fmla="*/ 546818 h 606722"/>
              <a:gd name="connsiteX29" fmla="*/ 209357 w 607639"/>
              <a:gd name="connsiteY29" fmla="*/ 539441 h 606722"/>
              <a:gd name="connsiteX30" fmla="*/ 206241 w 607639"/>
              <a:gd name="connsiteY30" fmla="*/ 536242 h 606722"/>
              <a:gd name="connsiteX31" fmla="*/ 144734 w 607639"/>
              <a:gd name="connsiteY31" fmla="*/ 599079 h 606722"/>
              <a:gd name="connsiteX32" fmla="*/ 126753 w 607639"/>
              <a:gd name="connsiteY32" fmla="*/ 606722 h 606722"/>
              <a:gd name="connsiteX33" fmla="*/ 126575 w 607639"/>
              <a:gd name="connsiteY33" fmla="*/ 606722 h 606722"/>
              <a:gd name="connsiteX34" fmla="*/ 108684 w 607639"/>
              <a:gd name="connsiteY34" fmla="*/ 599256 h 606722"/>
              <a:gd name="connsiteX35" fmla="*/ 7388 w 607639"/>
              <a:gd name="connsiteY35" fmla="*/ 498113 h 606722"/>
              <a:gd name="connsiteX36" fmla="*/ 0 w 607639"/>
              <a:gd name="connsiteY36" fmla="*/ 480160 h 606722"/>
              <a:gd name="connsiteX37" fmla="*/ 7655 w 607639"/>
              <a:gd name="connsiteY37" fmla="*/ 462206 h 606722"/>
              <a:gd name="connsiteX38" fmla="*/ 70587 w 607639"/>
              <a:gd name="connsiteY38" fmla="*/ 400792 h 606722"/>
              <a:gd name="connsiteX39" fmla="*/ 67382 w 607639"/>
              <a:gd name="connsiteY39" fmla="*/ 397681 h 606722"/>
              <a:gd name="connsiteX40" fmla="*/ 59994 w 607639"/>
              <a:gd name="connsiteY40" fmla="*/ 379728 h 606722"/>
              <a:gd name="connsiteX41" fmla="*/ 67382 w 607639"/>
              <a:gd name="connsiteY41" fmla="*/ 361863 h 606722"/>
              <a:gd name="connsiteX42" fmla="*/ 139927 w 607639"/>
              <a:gd name="connsiteY42" fmla="*/ 289516 h 606722"/>
              <a:gd name="connsiteX43" fmla="*/ 157786 w 607639"/>
              <a:gd name="connsiteY43" fmla="*/ 282117 h 606722"/>
              <a:gd name="connsiteX44" fmla="*/ 363724 w 607639"/>
              <a:gd name="connsiteY44" fmla="*/ 101159 h 606722"/>
              <a:gd name="connsiteX45" fmla="*/ 353254 w 607639"/>
              <a:gd name="connsiteY45" fmla="*/ 105492 h 606722"/>
              <a:gd name="connsiteX46" fmla="*/ 320945 w 607639"/>
              <a:gd name="connsiteY46" fmla="*/ 137752 h 606722"/>
              <a:gd name="connsiteX47" fmla="*/ 323793 w 607639"/>
              <a:gd name="connsiteY47" fmla="*/ 139974 h 606722"/>
              <a:gd name="connsiteX48" fmla="*/ 335898 w 607639"/>
              <a:gd name="connsiteY48" fmla="*/ 148417 h 606722"/>
              <a:gd name="connsiteX49" fmla="*/ 341149 w 607639"/>
              <a:gd name="connsiteY49" fmla="*/ 151794 h 606722"/>
              <a:gd name="connsiteX50" fmla="*/ 359930 w 607639"/>
              <a:gd name="connsiteY50" fmla="*/ 162459 h 606722"/>
              <a:gd name="connsiteX51" fmla="*/ 408439 w 607639"/>
              <a:gd name="connsiteY51" fmla="*/ 198897 h 606722"/>
              <a:gd name="connsiteX52" fmla="*/ 444933 w 607639"/>
              <a:gd name="connsiteY52" fmla="*/ 247243 h 606722"/>
              <a:gd name="connsiteX53" fmla="*/ 455614 w 607639"/>
              <a:gd name="connsiteY53" fmla="*/ 266084 h 606722"/>
              <a:gd name="connsiteX54" fmla="*/ 458907 w 607639"/>
              <a:gd name="connsiteY54" fmla="*/ 271239 h 606722"/>
              <a:gd name="connsiteX55" fmla="*/ 467452 w 607639"/>
              <a:gd name="connsiteY55" fmla="*/ 283326 h 606722"/>
              <a:gd name="connsiteX56" fmla="*/ 469677 w 607639"/>
              <a:gd name="connsiteY56" fmla="*/ 286258 h 606722"/>
              <a:gd name="connsiteX57" fmla="*/ 501987 w 607639"/>
              <a:gd name="connsiteY57" fmla="*/ 253998 h 606722"/>
              <a:gd name="connsiteX58" fmla="*/ 501987 w 607639"/>
              <a:gd name="connsiteY58" fmla="*/ 233024 h 606722"/>
              <a:gd name="connsiteX59" fmla="*/ 374260 w 607639"/>
              <a:gd name="connsiteY59" fmla="*/ 105492 h 606722"/>
              <a:gd name="connsiteX60" fmla="*/ 363724 w 607639"/>
              <a:gd name="connsiteY60" fmla="*/ 101159 h 606722"/>
              <a:gd name="connsiteX61" fmla="*/ 177209 w 607639"/>
              <a:gd name="connsiteY61" fmla="*/ 50521 h 606722"/>
              <a:gd name="connsiteX62" fmla="*/ 195096 w 607639"/>
              <a:gd name="connsiteY62" fmla="*/ 57919 h 606722"/>
              <a:gd name="connsiteX63" fmla="*/ 195096 w 607639"/>
              <a:gd name="connsiteY63" fmla="*/ 93644 h 606722"/>
              <a:gd name="connsiteX64" fmla="*/ 137075 w 607639"/>
              <a:gd name="connsiteY64" fmla="*/ 151675 h 606722"/>
              <a:gd name="connsiteX65" fmla="*/ 151936 w 607639"/>
              <a:gd name="connsiteY65" fmla="*/ 151675 h 606722"/>
              <a:gd name="connsiteX66" fmla="*/ 177209 w 607639"/>
              <a:gd name="connsiteY66" fmla="*/ 176914 h 606722"/>
              <a:gd name="connsiteX67" fmla="*/ 151936 w 607639"/>
              <a:gd name="connsiteY67" fmla="*/ 202241 h 606722"/>
              <a:gd name="connsiteX68" fmla="*/ 75939 w 607639"/>
              <a:gd name="connsiteY68" fmla="*/ 202241 h 606722"/>
              <a:gd name="connsiteX69" fmla="*/ 59387 w 607639"/>
              <a:gd name="connsiteY69" fmla="*/ 196020 h 606722"/>
              <a:gd name="connsiteX70" fmla="*/ 55916 w 607639"/>
              <a:gd name="connsiteY70" fmla="*/ 192288 h 606722"/>
              <a:gd name="connsiteX71" fmla="*/ 50755 w 607639"/>
              <a:gd name="connsiteY71" fmla="*/ 178691 h 606722"/>
              <a:gd name="connsiteX72" fmla="*/ 50666 w 607639"/>
              <a:gd name="connsiteY72" fmla="*/ 176736 h 606722"/>
              <a:gd name="connsiteX73" fmla="*/ 50666 w 607639"/>
              <a:gd name="connsiteY73" fmla="*/ 101109 h 606722"/>
              <a:gd name="connsiteX74" fmla="*/ 75939 w 607639"/>
              <a:gd name="connsiteY74" fmla="*/ 75782 h 606722"/>
              <a:gd name="connsiteX75" fmla="*/ 101301 w 607639"/>
              <a:gd name="connsiteY75" fmla="*/ 101109 h 606722"/>
              <a:gd name="connsiteX76" fmla="*/ 101301 w 607639"/>
              <a:gd name="connsiteY76" fmla="*/ 115861 h 606722"/>
              <a:gd name="connsiteX77" fmla="*/ 159322 w 607639"/>
              <a:gd name="connsiteY77" fmla="*/ 57919 h 606722"/>
              <a:gd name="connsiteX78" fmla="*/ 177209 w 607639"/>
              <a:gd name="connsiteY78" fmla="*/ 50521 h 606722"/>
              <a:gd name="connsiteX79" fmla="*/ 480892 w 607639"/>
              <a:gd name="connsiteY79" fmla="*/ 0 h 606722"/>
              <a:gd name="connsiteX80" fmla="*/ 498960 w 607639"/>
              <a:gd name="connsiteY80" fmla="*/ 7376 h 606722"/>
              <a:gd name="connsiteX81" fmla="*/ 600162 w 607639"/>
              <a:gd name="connsiteY81" fmla="*/ 108513 h 606722"/>
              <a:gd name="connsiteX82" fmla="*/ 607639 w 607639"/>
              <a:gd name="connsiteY82" fmla="*/ 126554 h 606722"/>
              <a:gd name="connsiteX83" fmla="*/ 599984 w 607639"/>
              <a:gd name="connsiteY83" fmla="*/ 144507 h 606722"/>
              <a:gd name="connsiteX84" fmla="*/ 541417 w 607639"/>
              <a:gd name="connsiteY84" fmla="*/ 201741 h 606722"/>
              <a:gd name="connsiteX85" fmla="*/ 537768 w 607639"/>
              <a:gd name="connsiteY85" fmla="*/ 289724 h 606722"/>
              <a:gd name="connsiteX86" fmla="*/ 486499 w 607639"/>
              <a:gd name="connsiteY86" fmla="*/ 340915 h 606722"/>
              <a:gd name="connsiteX87" fmla="*/ 484719 w 607639"/>
              <a:gd name="connsiteY87" fmla="*/ 342159 h 606722"/>
              <a:gd name="connsiteX88" fmla="*/ 480002 w 607639"/>
              <a:gd name="connsiteY88" fmla="*/ 345270 h 606722"/>
              <a:gd name="connsiteX89" fmla="*/ 476530 w 607639"/>
              <a:gd name="connsiteY89" fmla="*/ 346869 h 606722"/>
              <a:gd name="connsiteX90" fmla="*/ 471190 w 607639"/>
              <a:gd name="connsiteY90" fmla="*/ 347847 h 606722"/>
              <a:gd name="connsiteX91" fmla="*/ 468609 w 607639"/>
              <a:gd name="connsiteY91" fmla="*/ 348380 h 606722"/>
              <a:gd name="connsiteX92" fmla="*/ 467452 w 607639"/>
              <a:gd name="connsiteY92" fmla="*/ 348114 h 606722"/>
              <a:gd name="connsiteX93" fmla="*/ 462111 w 607639"/>
              <a:gd name="connsiteY93" fmla="*/ 347047 h 606722"/>
              <a:gd name="connsiteX94" fmla="*/ 458373 w 607639"/>
              <a:gd name="connsiteY94" fmla="*/ 345981 h 606722"/>
              <a:gd name="connsiteX95" fmla="*/ 457305 w 607639"/>
              <a:gd name="connsiteY95" fmla="*/ 345714 h 606722"/>
              <a:gd name="connsiteX96" fmla="*/ 428911 w 607639"/>
              <a:gd name="connsiteY96" fmla="*/ 331494 h 606722"/>
              <a:gd name="connsiteX97" fmla="*/ 407282 w 607639"/>
              <a:gd name="connsiteY97" fmla="*/ 335049 h 606722"/>
              <a:gd name="connsiteX98" fmla="*/ 376308 w 607639"/>
              <a:gd name="connsiteY98" fmla="*/ 365888 h 606722"/>
              <a:gd name="connsiteX99" fmla="*/ 344265 w 607639"/>
              <a:gd name="connsiteY99" fmla="*/ 379219 h 606722"/>
              <a:gd name="connsiteX100" fmla="*/ 312133 w 607639"/>
              <a:gd name="connsiteY100" fmla="*/ 365888 h 606722"/>
              <a:gd name="connsiteX101" fmla="*/ 241194 w 607639"/>
              <a:gd name="connsiteY101" fmla="*/ 295057 h 606722"/>
              <a:gd name="connsiteX102" fmla="*/ 241194 w 607639"/>
              <a:gd name="connsiteY102" fmla="*/ 230891 h 606722"/>
              <a:gd name="connsiteX103" fmla="*/ 272079 w 607639"/>
              <a:gd name="connsiteY103" fmla="*/ 200052 h 606722"/>
              <a:gd name="connsiteX104" fmla="*/ 275551 w 607639"/>
              <a:gd name="connsiteY104" fmla="*/ 178456 h 606722"/>
              <a:gd name="connsiteX105" fmla="*/ 261398 w 607639"/>
              <a:gd name="connsiteY105" fmla="*/ 150106 h 606722"/>
              <a:gd name="connsiteX106" fmla="*/ 261131 w 607639"/>
              <a:gd name="connsiteY106" fmla="*/ 149039 h 606722"/>
              <a:gd name="connsiteX107" fmla="*/ 260063 w 607639"/>
              <a:gd name="connsiteY107" fmla="*/ 145307 h 606722"/>
              <a:gd name="connsiteX108" fmla="*/ 258995 w 607639"/>
              <a:gd name="connsiteY108" fmla="*/ 139974 h 606722"/>
              <a:gd name="connsiteX109" fmla="*/ 259262 w 607639"/>
              <a:gd name="connsiteY109" fmla="*/ 136242 h 606722"/>
              <a:gd name="connsiteX110" fmla="*/ 260241 w 607639"/>
              <a:gd name="connsiteY110" fmla="*/ 130909 h 606722"/>
              <a:gd name="connsiteX111" fmla="*/ 261754 w 607639"/>
              <a:gd name="connsiteY111" fmla="*/ 127443 h 606722"/>
              <a:gd name="connsiteX112" fmla="*/ 264959 w 607639"/>
              <a:gd name="connsiteY112" fmla="*/ 122733 h 606722"/>
              <a:gd name="connsiteX113" fmla="*/ 266116 w 607639"/>
              <a:gd name="connsiteY113" fmla="*/ 120955 h 606722"/>
              <a:gd name="connsiteX114" fmla="*/ 317384 w 607639"/>
              <a:gd name="connsiteY114" fmla="*/ 69676 h 606722"/>
              <a:gd name="connsiteX115" fmla="*/ 405591 w 607639"/>
              <a:gd name="connsiteY115" fmla="*/ 66121 h 606722"/>
              <a:gd name="connsiteX116" fmla="*/ 462912 w 607639"/>
              <a:gd name="connsiteY116" fmla="*/ 7554 h 606722"/>
              <a:gd name="connsiteX117" fmla="*/ 480892 w 607639"/>
              <a:gd name="connsiteY117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07639" h="606722">
                <a:moveTo>
                  <a:pt x="106370" y="436610"/>
                </a:moveTo>
                <a:lnTo>
                  <a:pt x="61329" y="480515"/>
                </a:lnTo>
                <a:lnTo>
                  <a:pt x="126397" y="545485"/>
                </a:lnTo>
                <a:lnTo>
                  <a:pt x="170369" y="500513"/>
                </a:lnTo>
                <a:close/>
                <a:moveTo>
                  <a:pt x="455714" y="404481"/>
                </a:moveTo>
                <a:lnTo>
                  <a:pt x="531614" y="404481"/>
                </a:lnTo>
                <a:lnTo>
                  <a:pt x="531703" y="404481"/>
                </a:lnTo>
                <a:lnTo>
                  <a:pt x="531792" y="404481"/>
                </a:lnTo>
                <a:cubicBezTo>
                  <a:pt x="538020" y="404481"/>
                  <a:pt x="543715" y="406792"/>
                  <a:pt x="548075" y="410525"/>
                </a:cubicBezTo>
                <a:cubicBezTo>
                  <a:pt x="549321" y="411591"/>
                  <a:pt x="550388" y="412747"/>
                  <a:pt x="551456" y="413991"/>
                </a:cubicBezTo>
                <a:cubicBezTo>
                  <a:pt x="554748" y="418079"/>
                  <a:pt x="556795" y="423323"/>
                  <a:pt x="556973" y="429012"/>
                </a:cubicBezTo>
                <a:cubicBezTo>
                  <a:pt x="556973" y="429278"/>
                  <a:pt x="556973" y="429545"/>
                  <a:pt x="556973" y="429811"/>
                </a:cubicBezTo>
                <a:lnTo>
                  <a:pt x="556973" y="505625"/>
                </a:lnTo>
                <a:cubicBezTo>
                  <a:pt x="556973" y="519579"/>
                  <a:pt x="545673" y="530867"/>
                  <a:pt x="531614" y="530867"/>
                </a:cubicBezTo>
                <a:cubicBezTo>
                  <a:pt x="517644" y="530867"/>
                  <a:pt x="506343" y="519579"/>
                  <a:pt x="506343" y="505625"/>
                </a:cubicBezTo>
                <a:lnTo>
                  <a:pt x="476001" y="546065"/>
                </a:lnTo>
                <a:cubicBezTo>
                  <a:pt x="471018" y="552731"/>
                  <a:pt x="463366" y="556197"/>
                  <a:pt x="455714" y="556197"/>
                </a:cubicBezTo>
                <a:cubicBezTo>
                  <a:pt x="450375" y="556197"/>
                  <a:pt x="445125" y="554508"/>
                  <a:pt x="440498" y="551131"/>
                </a:cubicBezTo>
                <a:cubicBezTo>
                  <a:pt x="429375" y="542776"/>
                  <a:pt x="427062" y="526867"/>
                  <a:pt x="435515" y="515757"/>
                </a:cubicBezTo>
                <a:lnTo>
                  <a:pt x="481073" y="455053"/>
                </a:lnTo>
                <a:lnTo>
                  <a:pt x="455714" y="455053"/>
                </a:lnTo>
                <a:cubicBezTo>
                  <a:pt x="441744" y="455053"/>
                  <a:pt x="430443" y="443765"/>
                  <a:pt x="430443" y="429811"/>
                </a:cubicBezTo>
                <a:cubicBezTo>
                  <a:pt x="430443" y="415857"/>
                  <a:pt x="441744" y="404481"/>
                  <a:pt x="455714" y="404481"/>
                </a:cubicBezTo>
                <a:close/>
                <a:moveTo>
                  <a:pt x="157786" y="282117"/>
                </a:moveTo>
                <a:cubicBezTo>
                  <a:pt x="164272" y="282117"/>
                  <a:pt x="170770" y="284584"/>
                  <a:pt x="175710" y="289516"/>
                </a:cubicBezTo>
                <a:lnTo>
                  <a:pt x="317685" y="431277"/>
                </a:lnTo>
                <a:cubicBezTo>
                  <a:pt x="327565" y="441142"/>
                  <a:pt x="327565" y="457140"/>
                  <a:pt x="317685" y="467006"/>
                </a:cubicBezTo>
                <a:lnTo>
                  <a:pt x="245229" y="539441"/>
                </a:lnTo>
                <a:cubicBezTo>
                  <a:pt x="240422" y="544152"/>
                  <a:pt x="234013" y="546818"/>
                  <a:pt x="227248" y="546818"/>
                </a:cubicBezTo>
                <a:cubicBezTo>
                  <a:pt x="220572" y="546818"/>
                  <a:pt x="214163" y="544152"/>
                  <a:pt x="209357" y="539441"/>
                </a:cubicBezTo>
                <a:lnTo>
                  <a:pt x="206241" y="536242"/>
                </a:lnTo>
                <a:lnTo>
                  <a:pt x="144734" y="599079"/>
                </a:lnTo>
                <a:cubicBezTo>
                  <a:pt x="140016" y="603967"/>
                  <a:pt x="133518" y="606633"/>
                  <a:pt x="126753" y="606722"/>
                </a:cubicBezTo>
                <a:lnTo>
                  <a:pt x="126575" y="606722"/>
                </a:lnTo>
                <a:cubicBezTo>
                  <a:pt x="119899" y="606722"/>
                  <a:pt x="113491" y="604056"/>
                  <a:pt x="108684" y="599256"/>
                </a:cubicBezTo>
                <a:lnTo>
                  <a:pt x="7388" y="498113"/>
                </a:lnTo>
                <a:cubicBezTo>
                  <a:pt x="2670" y="493403"/>
                  <a:pt x="0" y="486914"/>
                  <a:pt x="0" y="480160"/>
                </a:cubicBezTo>
                <a:cubicBezTo>
                  <a:pt x="89" y="473405"/>
                  <a:pt x="2759" y="466917"/>
                  <a:pt x="7655" y="462206"/>
                </a:cubicBezTo>
                <a:lnTo>
                  <a:pt x="70587" y="400792"/>
                </a:lnTo>
                <a:lnTo>
                  <a:pt x="67382" y="397681"/>
                </a:lnTo>
                <a:cubicBezTo>
                  <a:pt x="62665" y="392882"/>
                  <a:pt x="59994" y="386482"/>
                  <a:pt x="59994" y="379728"/>
                </a:cubicBezTo>
                <a:cubicBezTo>
                  <a:pt x="59994" y="373062"/>
                  <a:pt x="62665" y="366663"/>
                  <a:pt x="67382" y="361863"/>
                </a:cubicBezTo>
                <a:lnTo>
                  <a:pt x="139927" y="289516"/>
                </a:lnTo>
                <a:cubicBezTo>
                  <a:pt x="144823" y="284584"/>
                  <a:pt x="151299" y="282117"/>
                  <a:pt x="157786" y="282117"/>
                </a:cubicBezTo>
                <a:close/>
                <a:moveTo>
                  <a:pt x="363724" y="101159"/>
                </a:moveTo>
                <a:cubicBezTo>
                  <a:pt x="359930" y="101159"/>
                  <a:pt x="356147" y="102604"/>
                  <a:pt x="353254" y="105492"/>
                </a:cubicBezTo>
                <a:lnTo>
                  <a:pt x="320945" y="137752"/>
                </a:lnTo>
                <a:cubicBezTo>
                  <a:pt x="321835" y="138463"/>
                  <a:pt x="322814" y="139174"/>
                  <a:pt x="323793" y="139974"/>
                </a:cubicBezTo>
                <a:cubicBezTo>
                  <a:pt x="327709" y="142818"/>
                  <a:pt x="331715" y="145662"/>
                  <a:pt x="335898" y="148417"/>
                </a:cubicBezTo>
                <a:cubicBezTo>
                  <a:pt x="337678" y="149572"/>
                  <a:pt x="339369" y="150728"/>
                  <a:pt x="341149" y="151794"/>
                </a:cubicBezTo>
                <a:cubicBezTo>
                  <a:pt x="347113" y="155527"/>
                  <a:pt x="353254" y="159082"/>
                  <a:pt x="359930" y="162459"/>
                </a:cubicBezTo>
                <a:cubicBezTo>
                  <a:pt x="376040" y="170724"/>
                  <a:pt x="392863" y="183344"/>
                  <a:pt x="408439" y="198897"/>
                </a:cubicBezTo>
                <a:cubicBezTo>
                  <a:pt x="424016" y="214449"/>
                  <a:pt x="436655" y="231246"/>
                  <a:pt x="444933" y="247243"/>
                </a:cubicBezTo>
                <a:cubicBezTo>
                  <a:pt x="448315" y="253998"/>
                  <a:pt x="451875" y="260130"/>
                  <a:pt x="455614" y="266084"/>
                </a:cubicBezTo>
                <a:cubicBezTo>
                  <a:pt x="456682" y="267862"/>
                  <a:pt x="457839" y="269550"/>
                  <a:pt x="458907" y="271239"/>
                </a:cubicBezTo>
                <a:cubicBezTo>
                  <a:pt x="461666" y="275416"/>
                  <a:pt x="464514" y="279504"/>
                  <a:pt x="467452" y="283326"/>
                </a:cubicBezTo>
                <a:cubicBezTo>
                  <a:pt x="468164" y="284303"/>
                  <a:pt x="468876" y="285281"/>
                  <a:pt x="469677" y="286258"/>
                </a:cubicBezTo>
                <a:lnTo>
                  <a:pt x="501987" y="253998"/>
                </a:lnTo>
                <a:cubicBezTo>
                  <a:pt x="507772" y="248221"/>
                  <a:pt x="507772" y="238800"/>
                  <a:pt x="501987" y="233024"/>
                </a:cubicBezTo>
                <a:lnTo>
                  <a:pt x="374260" y="105492"/>
                </a:lnTo>
                <a:cubicBezTo>
                  <a:pt x="371323" y="102604"/>
                  <a:pt x="367518" y="101159"/>
                  <a:pt x="363724" y="101159"/>
                </a:cubicBezTo>
                <a:close/>
                <a:moveTo>
                  <a:pt x="177209" y="50521"/>
                </a:moveTo>
                <a:cubicBezTo>
                  <a:pt x="183683" y="50521"/>
                  <a:pt x="190157" y="52987"/>
                  <a:pt x="195096" y="57919"/>
                </a:cubicBezTo>
                <a:cubicBezTo>
                  <a:pt x="205063" y="67784"/>
                  <a:pt x="205063" y="83869"/>
                  <a:pt x="195096" y="93644"/>
                </a:cubicBezTo>
                <a:lnTo>
                  <a:pt x="137075" y="151675"/>
                </a:lnTo>
                <a:lnTo>
                  <a:pt x="151936" y="151675"/>
                </a:lnTo>
                <a:cubicBezTo>
                  <a:pt x="165908" y="151675"/>
                  <a:pt x="177209" y="162961"/>
                  <a:pt x="177209" y="176914"/>
                </a:cubicBezTo>
                <a:cubicBezTo>
                  <a:pt x="177209" y="190866"/>
                  <a:pt x="165908" y="202241"/>
                  <a:pt x="151936" y="202241"/>
                </a:cubicBezTo>
                <a:lnTo>
                  <a:pt x="75939" y="202241"/>
                </a:lnTo>
                <a:cubicBezTo>
                  <a:pt x="69621" y="202241"/>
                  <a:pt x="63836" y="199842"/>
                  <a:pt x="59387" y="196020"/>
                </a:cubicBezTo>
                <a:cubicBezTo>
                  <a:pt x="58141" y="194954"/>
                  <a:pt x="56984" y="193710"/>
                  <a:pt x="55916" y="192288"/>
                </a:cubicBezTo>
                <a:cubicBezTo>
                  <a:pt x="52980" y="188466"/>
                  <a:pt x="51111" y="183845"/>
                  <a:pt x="50755" y="178691"/>
                </a:cubicBezTo>
                <a:cubicBezTo>
                  <a:pt x="50666" y="178069"/>
                  <a:pt x="50666" y="177447"/>
                  <a:pt x="50666" y="176736"/>
                </a:cubicBezTo>
                <a:lnTo>
                  <a:pt x="50666" y="101109"/>
                </a:lnTo>
                <a:cubicBezTo>
                  <a:pt x="50666" y="87157"/>
                  <a:pt x="61968" y="75782"/>
                  <a:pt x="75939" y="75782"/>
                </a:cubicBezTo>
                <a:cubicBezTo>
                  <a:pt x="89910" y="75782"/>
                  <a:pt x="101301" y="87157"/>
                  <a:pt x="101301" y="101109"/>
                </a:cubicBezTo>
                <a:lnTo>
                  <a:pt x="101301" y="115861"/>
                </a:lnTo>
                <a:lnTo>
                  <a:pt x="159322" y="57919"/>
                </a:lnTo>
                <a:cubicBezTo>
                  <a:pt x="164261" y="52987"/>
                  <a:pt x="170735" y="50521"/>
                  <a:pt x="177209" y="50521"/>
                </a:cubicBezTo>
                <a:close/>
                <a:moveTo>
                  <a:pt x="480892" y="0"/>
                </a:moveTo>
                <a:cubicBezTo>
                  <a:pt x="487122" y="0"/>
                  <a:pt x="494154" y="2666"/>
                  <a:pt x="498960" y="7376"/>
                </a:cubicBezTo>
                <a:lnTo>
                  <a:pt x="600162" y="108513"/>
                </a:lnTo>
                <a:cubicBezTo>
                  <a:pt x="604969" y="113312"/>
                  <a:pt x="607639" y="119800"/>
                  <a:pt x="607639" y="126554"/>
                </a:cubicBezTo>
                <a:cubicBezTo>
                  <a:pt x="607550" y="133309"/>
                  <a:pt x="604880" y="139708"/>
                  <a:pt x="599984" y="144507"/>
                </a:cubicBezTo>
                <a:lnTo>
                  <a:pt x="541417" y="201741"/>
                </a:lnTo>
                <a:cubicBezTo>
                  <a:pt x="562957" y="227425"/>
                  <a:pt x="561978" y="265640"/>
                  <a:pt x="537768" y="289724"/>
                </a:cubicBezTo>
                <a:lnTo>
                  <a:pt x="486499" y="340915"/>
                </a:lnTo>
                <a:cubicBezTo>
                  <a:pt x="485965" y="341537"/>
                  <a:pt x="485342" y="341715"/>
                  <a:pt x="484719" y="342159"/>
                </a:cubicBezTo>
                <a:cubicBezTo>
                  <a:pt x="483206" y="343403"/>
                  <a:pt x="481693" y="344470"/>
                  <a:pt x="480002" y="345270"/>
                </a:cubicBezTo>
                <a:cubicBezTo>
                  <a:pt x="478845" y="345892"/>
                  <a:pt x="477688" y="346425"/>
                  <a:pt x="476530" y="346869"/>
                </a:cubicBezTo>
                <a:cubicBezTo>
                  <a:pt x="474750" y="347403"/>
                  <a:pt x="472970" y="347669"/>
                  <a:pt x="471190" y="347847"/>
                </a:cubicBezTo>
                <a:cubicBezTo>
                  <a:pt x="470300" y="347936"/>
                  <a:pt x="469499" y="348380"/>
                  <a:pt x="468609" y="348380"/>
                </a:cubicBezTo>
                <a:cubicBezTo>
                  <a:pt x="468253" y="348380"/>
                  <a:pt x="467808" y="348114"/>
                  <a:pt x="467452" y="348114"/>
                </a:cubicBezTo>
                <a:cubicBezTo>
                  <a:pt x="465582" y="348025"/>
                  <a:pt x="463891" y="347580"/>
                  <a:pt x="462111" y="347047"/>
                </a:cubicBezTo>
                <a:cubicBezTo>
                  <a:pt x="460776" y="346692"/>
                  <a:pt x="459530" y="346514"/>
                  <a:pt x="458373" y="345981"/>
                </a:cubicBezTo>
                <a:cubicBezTo>
                  <a:pt x="458017" y="345892"/>
                  <a:pt x="457661" y="345892"/>
                  <a:pt x="457305" y="345714"/>
                </a:cubicBezTo>
                <a:lnTo>
                  <a:pt x="428911" y="331494"/>
                </a:lnTo>
                <a:cubicBezTo>
                  <a:pt x="421702" y="327940"/>
                  <a:pt x="412979" y="329273"/>
                  <a:pt x="407282" y="335049"/>
                </a:cubicBezTo>
                <a:lnTo>
                  <a:pt x="376308" y="365888"/>
                </a:lnTo>
                <a:cubicBezTo>
                  <a:pt x="367763" y="374509"/>
                  <a:pt x="356370" y="379219"/>
                  <a:pt x="344265" y="379219"/>
                </a:cubicBezTo>
                <a:cubicBezTo>
                  <a:pt x="332160" y="379219"/>
                  <a:pt x="320678" y="374509"/>
                  <a:pt x="312133" y="365888"/>
                </a:cubicBezTo>
                <a:lnTo>
                  <a:pt x="241194" y="295057"/>
                </a:lnTo>
                <a:cubicBezTo>
                  <a:pt x="223481" y="277371"/>
                  <a:pt x="223481" y="248576"/>
                  <a:pt x="241194" y="230891"/>
                </a:cubicBezTo>
                <a:lnTo>
                  <a:pt x="272079" y="200052"/>
                </a:lnTo>
                <a:cubicBezTo>
                  <a:pt x="277776" y="194364"/>
                  <a:pt x="279200" y="185655"/>
                  <a:pt x="275551" y="178456"/>
                </a:cubicBezTo>
                <a:lnTo>
                  <a:pt x="261398" y="150106"/>
                </a:lnTo>
                <a:cubicBezTo>
                  <a:pt x="261220" y="149750"/>
                  <a:pt x="261220" y="149395"/>
                  <a:pt x="261131" y="149039"/>
                </a:cubicBezTo>
                <a:cubicBezTo>
                  <a:pt x="260508" y="147884"/>
                  <a:pt x="260330" y="146640"/>
                  <a:pt x="260063" y="145307"/>
                </a:cubicBezTo>
                <a:cubicBezTo>
                  <a:pt x="259529" y="143529"/>
                  <a:pt x="259084" y="141841"/>
                  <a:pt x="258995" y="139974"/>
                </a:cubicBezTo>
                <a:cubicBezTo>
                  <a:pt x="258906" y="138730"/>
                  <a:pt x="259084" y="137486"/>
                  <a:pt x="259262" y="136242"/>
                </a:cubicBezTo>
                <a:cubicBezTo>
                  <a:pt x="259440" y="134375"/>
                  <a:pt x="259707" y="132687"/>
                  <a:pt x="260241" y="130909"/>
                </a:cubicBezTo>
                <a:cubicBezTo>
                  <a:pt x="260686" y="129754"/>
                  <a:pt x="261220" y="128599"/>
                  <a:pt x="261754" y="127443"/>
                </a:cubicBezTo>
                <a:cubicBezTo>
                  <a:pt x="262644" y="125755"/>
                  <a:pt x="263713" y="124155"/>
                  <a:pt x="264959" y="122733"/>
                </a:cubicBezTo>
                <a:cubicBezTo>
                  <a:pt x="265404" y="122111"/>
                  <a:pt x="265582" y="121400"/>
                  <a:pt x="266116" y="120955"/>
                </a:cubicBezTo>
                <a:lnTo>
                  <a:pt x="317384" y="69676"/>
                </a:lnTo>
                <a:cubicBezTo>
                  <a:pt x="341505" y="45592"/>
                  <a:pt x="379868" y="44525"/>
                  <a:pt x="405591" y="66121"/>
                </a:cubicBezTo>
                <a:lnTo>
                  <a:pt x="462912" y="7554"/>
                </a:lnTo>
                <a:cubicBezTo>
                  <a:pt x="467719" y="2755"/>
                  <a:pt x="474127" y="89"/>
                  <a:pt x="48089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45" name="iṡļîḍé"/>
          <p:cNvSpPr/>
          <p:nvPr/>
        </p:nvSpPr>
        <p:spPr bwMode="auto">
          <a:xfrm>
            <a:off x="2592839" y="4926581"/>
            <a:ext cx="344710" cy="344189"/>
          </a:xfrm>
          <a:custGeom>
            <a:avLst/>
            <a:gdLst>
              <a:gd name="connsiteX0" fmla="*/ 257564 w 607639"/>
              <a:gd name="connsiteY0" fmla="*/ 92370 h 606722"/>
              <a:gd name="connsiteX1" fmla="*/ 277411 w 607639"/>
              <a:gd name="connsiteY1" fmla="*/ 112098 h 606722"/>
              <a:gd name="connsiteX2" fmla="*/ 277411 w 607639"/>
              <a:gd name="connsiteY2" fmla="*/ 329729 h 606722"/>
              <a:gd name="connsiteX3" fmla="*/ 495281 w 607639"/>
              <a:gd name="connsiteY3" fmla="*/ 329729 h 606722"/>
              <a:gd name="connsiteX4" fmla="*/ 515128 w 607639"/>
              <a:gd name="connsiteY4" fmla="*/ 349546 h 606722"/>
              <a:gd name="connsiteX5" fmla="*/ 257564 w 607639"/>
              <a:gd name="connsiteY5" fmla="*/ 606722 h 606722"/>
              <a:gd name="connsiteX6" fmla="*/ 0 w 607639"/>
              <a:gd name="connsiteY6" fmla="*/ 349546 h 606722"/>
              <a:gd name="connsiteX7" fmla="*/ 257564 w 607639"/>
              <a:gd name="connsiteY7" fmla="*/ 92370 h 606722"/>
              <a:gd name="connsiteX8" fmla="*/ 350027 w 607639"/>
              <a:gd name="connsiteY8" fmla="*/ 0 h 606722"/>
              <a:gd name="connsiteX9" fmla="*/ 607639 w 607639"/>
              <a:gd name="connsiteY9" fmla="*/ 257220 h 606722"/>
              <a:gd name="connsiteX10" fmla="*/ 587788 w 607639"/>
              <a:gd name="connsiteY10" fmla="*/ 277040 h 606722"/>
              <a:gd name="connsiteX11" fmla="*/ 350027 w 607639"/>
              <a:gd name="connsiteY11" fmla="*/ 277040 h 606722"/>
              <a:gd name="connsiteX12" fmla="*/ 330176 w 607639"/>
              <a:gd name="connsiteY12" fmla="*/ 257220 h 606722"/>
              <a:gd name="connsiteX13" fmla="*/ 330176 w 607639"/>
              <a:gd name="connsiteY13" fmla="*/ 19820 h 606722"/>
              <a:gd name="connsiteX14" fmla="*/ 350027 w 607639"/>
              <a:gd name="connsiteY14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7639" h="606722">
                <a:moveTo>
                  <a:pt x="257564" y="92370"/>
                </a:moveTo>
                <a:cubicBezTo>
                  <a:pt x="268511" y="92370"/>
                  <a:pt x="277411" y="101168"/>
                  <a:pt x="277411" y="112098"/>
                </a:cubicBezTo>
                <a:lnTo>
                  <a:pt x="277411" y="329729"/>
                </a:lnTo>
                <a:lnTo>
                  <a:pt x="495281" y="329729"/>
                </a:lnTo>
                <a:cubicBezTo>
                  <a:pt x="506228" y="329729"/>
                  <a:pt x="515128" y="338616"/>
                  <a:pt x="515128" y="349546"/>
                </a:cubicBezTo>
                <a:cubicBezTo>
                  <a:pt x="515128" y="491286"/>
                  <a:pt x="399607" y="606722"/>
                  <a:pt x="257564" y="606722"/>
                </a:cubicBezTo>
                <a:cubicBezTo>
                  <a:pt x="115521" y="606722"/>
                  <a:pt x="0" y="491286"/>
                  <a:pt x="0" y="349546"/>
                </a:cubicBezTo>
                <a:cubicBezTo>
                  <a:pt x="0" y="207717"/>
                  <a:pt x="115521" y="92370"/>
                  <a:pt x="257564" y="92370"/>
                </a:cubicBezTo>
                <a:close/>
                <a:moveTo>
                  <a:pt x="350027" y="0"/>
                </a:moveTo>
                <a:cubicBezTo>
                  <a:pt x="492007" y="0"/>
                  <a:pt x="607639" y="115367"/>
                  <a:pt x="607639" y="257220"/>
                </a:cubicBezTo>
                <a:cubicBezTo>
                  <a:pt x="607639" y="268152"/>
                  <a:pt x="598737" y="277040"/>
                  <a:pt x="587788" y="277040"/>
                </a:cubicBezTo>
                <a:lnTo>
                  <a:pt x="350027" y="277040"/>
                </a:lnTo>
                <a:cubicBezTo>
                  <a:pt x="339078" y="277040"/>
                  <a:pt x="330176" y="268152"/>
                  <a:pt x="330176" y="257220"/>
                </a:cubicBezTo>
                <a:lnTo>
                  <a:pt x="330176" y="19820"/>
                </a:lnTo>
                <a:cubicBezTo>
                  <a:pt x="330176" y="8888"/>
                  <a:pt x="339078" y="0"/>
                  <a:pt x="35002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48" name="ïslíḓé"/>
          <p:cNvSpPr/>
          <p:nvPr/>
        </p:nvSpPr>
        <p:spPr bwMode="auto">
          <a:xfrm>
            <a:off x="2587350" y="2042213"/>
            <a:ext cx="343455" cy="339662"/>
          </a:xfrm>
          <a:custGeom>
            <a:avLst/>
            <a:gdLst>
              <a:gd name="connsiteX0" fmla="*/ 466437 w 600511"/>
              <a:gd name="connsiteY0" fmla="*/ 421770 h 593879"/>
              <a:gd name="connsiteX1" fmla="*/ 504684 w 600511"/>
              <a:gd name="connsiteY1" fmla="*/ 459981 h 593879"/>
              <a:gd name="connsiteX2" fmla="*/ 466437 w 600511"/>
              <a:gd name="connsiteY2" fmla="*/ 498192 h 593879"/>
              <a:gd name="connsiteX3" fmla="*/ 428190 w 600511"/>
              <a:gd name="connsiteY3" fmla="*/ 459981 h 593879"/>
              <a:gd name="connsiteX4" fmla="*/ 466437 w 600511"/>
              <a:gd name="connsiteY4" fmla="*/ 421770 h 593879"/>
              <a:gd name="connsiteX5" fmla="*/ 453390 w 600511"/>
              <a:gd name="connsiteY5" fmla="*/ 375066 h 593879"/>
              <a:gd name="connsiteX6" fmla="*/ 421127 w 600511"/>
              <a:gd name="connsiteY6" fmla="*/ 386990 h 593879"/>
              <a:gd name="connsiteX7" fmla="*/ 418868 w 600511"/>
              <a:gd name="connsiteY7" fmla="*/ 392146 h 593879"/>
              <a:gd name="connsiteX8" fmla="*/ 424031 w 600511"/>
              <a:gd name="connsiteY8" fmla="*/ 406325 h 593879"/>
              <a:gd name="connsiteX9" fmla="*/ 423385 w 600511"/>
              <a:gd name="connsiteY9" fmla="*/ 411481 h 593879"/>
              <a:gd name="connsiteX10" fmla="*/ 416287 w 600511"/>
              <a:gd name="connsiteY10" fmla="*/ 413737 h 593879"/>
              <a:gd name="connsiteX11" fmla="*/ 402414 w 600511"/>
              <a:gd name="connsiteY11" fmla="*/ 407292 h 593879"/>
              <a:gd name="connsiteX12" fmla="*/ 397252 w 600511"/>
              <a:gd name="connsiteY12" fmla="*/ 409226 h 593879"/>
              <a:gd name="connsiteX13" fmla="*/ 383056 w 600511"/>
              <a:gd name="connsiteY13" fmla="*/ 440485 h 593879"/>
              <a:gd name="connsiteX14" fmla="*/ 384669 w 600511"/>
              <a:gd name="connsiteY14" fmla="*/ 445318 h 593879"/>
              <a:gd name="connsiteX15" fmla="*/ 398542 w 600511"/>
              <a:gd name="connsiteY15" fmla="*/ 451764 h 593879"/>
              <a:gd name="connsiteX16" fmla="*/ 401769 w 600511"/>
              <a:gd name="connsiteY16" fmla="*/ 455953 h 593879"/>
              <a:gd name="connsiteX17" fmla="*/ 398220 w 600511"/>
              <a:gd name="connsiteY17" fmla="*/ 462720 h 593879"/>
              <a:gd name="connsiteX18" fmla="*/ 384024 w 600511"/>
              <a:gd name="connsiteY18" fmla="*/ 467876 h 593879"/>
              <a:gd name="connsiteX19" fmla="*/ 381766 w 600511"/>
              <a:gd name="connsiteY19" fmla="*/ 472710 h 593879"/>
              <a:gd name="connsiteX20" fmla="*/ 393380 w 600511"/>
              <a:gd name="connsiteY20" fmla="*/ 504936 h 593879"/>
              <a:gd name="connsiteX21" fmla="*/ 398542 w 600511"/>
              <a:gd name="connsiteY21" fmla="*/ 507192 h 593879"/>
              <a:gd name="connsiteX22" fmla="*/ 412738 w 600511"/>
              <a:gd name="connsiteY22" fmla="*/ 502036 h 593879"/>
              <a:gd name="connsiteX23" fmla="*/ 417900 w 600511"/>
              <a:gd name="connsiteY23" fmla="*/ 502680 h 593879"/>
              <a:gd name="connsiteX24" fmla="*/ 420159 w 600511"/>
              <a:gd name="connsiteY24" fmla="*/ 510092 h 593879"/>
              <a:gd name="connsiteX25" fmla="*/ 413706 w 600511"/>
              <a:gd name="connsiteY25" fmla="*/ 523949 h 593879"/>
              <a:gd name="connsiteX26" fmla="*/ 415642 w 600511"/>
              <a:gd name="connsiteY26" fmla="*/ 528783 h 593879"/>
              <a:gd name="connsiteX27" fmla="*/ 446937 w 600511"/>
              <a:gd name="connsiteY27" fmla="*/ 543285 h 593879"/>
              <a:gd name="connsiteX28" fmla="*/ 451777 w 600511"/>
              <a:gd name="connsiteY28" fmla="*/ 541351 h 593879"/>
              <a:gd name="connsiteX29" fmla="*/ 458230 w 600511"/>
              <a:gd name="connsiteY29" fmla="*/ 527494 h 593879"/>
              <a:gd name="connsiteX30" fmla="*/ 462424 w 600511"/>
              <a:gd name="connsiteY30" fmla="*/ 524272 h 593879"/>
              <a:gd name="connsiteX31" fmla="*/ 469199 w 600511"/>
              <a:gd name="connsiteY31" fmla="*/ 528139 h 593879"/>
              <a:gd name="connsiteX32" fmla="*/ 474361 w 600511"/>
              <a:gd name="connsiteY32" fmla="*/ 542318 h 593879"/>
              <a:gd name="connsiteX33" fmla="*/ 479201 w 600511"/>
              <a:gd name="connsiteY33" fmla="*/ 544574 h 593879"/>
              <a:gd name="connsiteX34" fmla="*/ 511464 w 600511"/>
              <a:gd name="connsiteY34" fmla="*/ 532650 h 593879"/>
              <a:gd name="connsiteX35" fmla="*/ 513723 w 600511"/>
              <a:gd name="connsiteY35" fmla="*/ 527816 h 593879"/>
              <a:gd name="connsiteX36" fmla="*/ 508560 w 600511"/>
              <a:gd name="connsiteY36" fmla="*/ 513315 h 593879"/>
              <a:gd name="connsiteX37" fmla="*/ 509206 w 600511"/>
              <a:gd name="connsiteY37" fmla="*/ 508159 h 593879"/>
              <a:gd name="connsiteX38" fmla="*/ 516626 w 600511"/>
              <a:gd name="connsiteY38" fmla="*/ 506225 h 593879"/>
              <a:gd name="connsiteX39" fmla="*/ 530500 w 600511"/>
              <a:gd name="connsiteY39" fmla="*/ 512348 h 593879"/>
              <a:gd name="connsiteX40" fmla="*/ 535339 w 600511"/>
              <a:gd name="connsiteY40" fmla="*/ 510737 h 593879"/>
              <a:gd name="connsiteX41" fmla="*/ 549858 w 600511"/>
              <a:gd name="connsiteY41" fmla="*/ 479478 h 593879"/>
              <a:gd name="connsiteX42" fmla="*/ 547922 w 600511"/>
              <a:gd name="connsiteY42" fmla="*/ 474322 h 593879"/>
              <a:gd name="connsiteX43" fmla="*/ 534049 w 600511"/>
              <a:gd name="connsiteY43" fmla="*/ 467876 h 593879"/>
              <a:gd name="connsiteX44" fmla="*/ 531145 w 600511"/>
              <a:gd name="connsiteY44" fmla="*/ 461109 h 593879"/>
              <a:gd name="connsiteX45" fmla="*/ 534694 w 600511"/>
              <a:gd name="connsiteY45" fmla="*/ 457242 h 593879"/>
              <a:gd name="connsiteX46" fmla="*/ 548890 w 600511"/>
              <a:gd name="connsiteY46" fmla="*/ 451764 h 593879"/>
              <a:gd name="connsiteX47" fmla="*/ 551148 w 600511"/>
              <a:gd name="connsiteY47" fmla="*/ 446930 h 593879"/>
              <a:gd name="connsiteX48" fmla="*/ 539211 w 600511"/>
              <a:gd name="connsiteY48" fmla="*/ 414704 h 593879"/>
              <a:gd name="connsiteX49" fmla="*/ 534371 w 600511"/>
              <a:gd name="connsiteY49" fmla="*/ 412448 h 593879"/>
              <a:gd name="connsiteX50" fmla="*/ 520175 w 600511"/>
              <a:gd name="connsiteY50" fmla="*/ 417604 h 593879"/>
              <a:gd name="connsiteX51" fmla="*/ 514691 w 600511"/>
              <a:gd name="connsiteY51" fmla="*/ 416960 h 593879"/>
              <a:gd name="connsiteX52" fmla="*/ 512755 w 600511"/>
              <a:gd name="connsiteY52" fmla="*/ 409548 h 593879"/>
              <a:gd name="connsiteX53" fmla="*/ 518885 w 600511"/>
              <a:gd name="connsiteY53" fmla="*/ 396013 h 593879"/>
              <a:gd name="connsiteX54" fmla="*/ 516949 w 600511"/>
              <a:gd name="connsiteY54" fmla="*/ 390857 h 593879"/>
              <a:gd name="connsiteX55" fmla="*/ 485976 w 600511"/>
              <a:gd name="connsiteY55" fmla="*/ 376355 h 593879"/>
              <a:gd name="connsiteX56" fmla="*/ 480814 w 600511"/>
              <a:gd name="connsiteY56" fmla="*/ 378289 h 593879"/>
              <a:gd name="connsiteX57" fmla="*/ 474361 w 600511"/>
              <a:gd name="connsiteY57" fmla="*/ 392146 h 593879"/>
              <a:gd name="connsiteX58" fmla="*/ 470167 w 600511"/>
              <a:gd name="connsiteY58" fmla="*/ 395368 h 593879"/>
              <a:gd name="connsiteX59" fmla="*/ 463714 w 600511"/>
              <a:gd name="connsiteY59" fmla="*/ 391824 h 593879"/>
              <a:gd name="connsiteX60" fmla="*/ 458230 w 600511"/>
              <a:gd name="connsiteY60" fmla="*/ 377322 h 593879"/>
              <a:gd name="connsiteX61" fmla="*/ 453390 w 600511"/>
              <a:gd name="connsiteY61" fmla="*/ 375066 h 593879"/>
              <a:gd name="connsiteX62" fmla="*/ 0 w 600511"/>
              <a:gd name="connsiteY62" fmla="*/ 372515 h 593879"/>
              <a:gd name="connsiteX63" fmla="*/ 233292 w 600511"/>
              <a:gd name="connsiteY63" fmla="*/ 465626 h 593879"/>
              <a:gd name="connsiteX64" fmla="*/ 305248 w 600511"/>
              <a:gd name="connsiteY64" fmla="*/ 461116 h 593879"/>
              <a:gd name="connsiteX65" fmla="*/ 332998 w 600511"/>
              <a:gd name="connsiteY65" fmla="*/ 549716 h 593879"/>
              <a:gd name="connsiteX66" fmla="*/ 233292 w 600511"/>
              <a:gd name="connsiteY66" fmla="*/ 558737 h 593879"/>
              <a:gd name="connsiteX67" fmla="*/ 0 w 600511"/>
              <a:gd name="connsiteY67" fmla="*/ 465626 h 593879"/>
              <a:gd name="connsiteX68" fmla="*/ 466295 w 600511"/>
              <a:gd name="connsiteY68" fmla="*/ 326083 h 593879"/>
              <a:gd name="connsiteX69" fmla="*/ 600511 w 600511"/>
              <a:gd name="connsiteY69" fmla="*/ 459820 h 593879"/>
              <a:gd name="connsiteX70" fmla="*/ 466295 w 600511"/>
              <a:gd name="connsiteY70" fmla="*/ 593879 h 593879"/>
              <a:gd name="connsiteX71" fmla="*/ 332080 w 600511"/>
              <a:gd name="connsiteY71" fmla="*/ 459820 h 593879"/>
              <a:gd name="connsiteX72" fmla="*/ 466295 w 600511"/>
              <a:gd name="connsiteY72" fmla="*/ 326083 h 593879"/>
              <a:gd name="connsiteX73" fmla="*/ 0 w 600511"/>
              <a:gd name="connsiteY73" fmla="*/ 232654 h 593879"/>
              <a:gd name="connsiteX74" fmla="*/ 233309 w 600511"/>
              <a:gd name="connsiteY74" fmla="*/ 326103 h 593879"/>
              <a:gd name="connsiteX75" fmla="*/ 466296 w 600511"/>
              <a:gd name="connsiteY75" fmla="*/ 232654 h 593879"/>
              <a:gd name="connsiteX76" fmla="*/ 466296 w 600511"/>
              <a:gd name="connsiteY76" fmla="*/ 299035 h 593879"/>
              <a:gd name="connsiteX77" fmla="*/ 312370 w 600511"/>
              <a:gd name="connsiteY77" fmla="*/ 413429 h 593879"/>
              <a:gd name="connsiteX78" fmla="*/ 233309 w 600511"/>
              <a:gd name="connsiteY78" fmla="*/ 419229 h 593879"/>
              <a:gd name="connsiteX79" fmla="*/ 0 w 600511"/>
              <a:gd name="connsiteY79" fmla="*/ 326103 h 593879"/>
              <a:gd name="connsiteX80" fmla="*/ 233309 w 600511"/>
              <a:gd name="connsiteY80" fmla="*/ 23200 h 593879"/>
              <a:gd name="connsiteX81" fmla="*/ 23234 w 600511"/>
              <a:gd name="connsiteY81" fmla="*/ 93123 h 593879"/>
              <a:gd name="connsiteX82" fmla="*/ 233309 w 600511"/>
              <a:gd name="connsiteY82" fmla="*/ 163046 h 593879"/>
              <a:gd name="connsiteX83" fmla="*/ 443062 w 600511"/>
              <a:gd name="connsiteY83" fmla="*/ 93123 h 593879"/>
              <a:gd name="connsiteX84" fmla="*/ 233309 w 600511"/>
              <a:gd name="connsiteY84" fmla="*/ 23200 h 593879"/>
              <a:gd name="connsiteX85" fmla="*/ 233309 w 600511"/>
              <a:gd name="connsiteY85" fmla="*/ 0 h 593879"/>
              <a:gd name="connsiteX86" fmla="*/ 466296 w 600511"/>
              <a:gd name="connsiteY86" fmla="*/ 93123 h 593879"/>
              <a:gd name="connsiteX87" fmla="*/ 466296 w 600511"/>
              <a:gd name="connsiteY87" fmla="*/ 186246 h 593879"/>
              <a:gd name="connsiteX88" fmla="*/ 233309 w 600511"/>
              <a:gd name="connsiteY88" fmla="*/ 279369 h 593879"/>
              <a:gd name="connsiteX89" fmla="*/ 0 w 600511"/>
              <a:gd name="connsiteY89" fmla="*/ 186246 h 593879"/>
              <a:gd name="connsiteX90" fmla="*/ 0 w 600511"/>
              <a:gd name="connsiteY90" fmla="*/ 93123 h 593879"/>
              <a:gd name="connsiteX91" fmla="*/ 233309 w 600511"/>
              <a:gd name="connsiteY91" fmla="*/ 0 h 593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600511" h="593879">
                <a:moveTo>
                  <a:pt x="466437" y="421770"/>
                </a:moveTo>
                <a:cubicBezTo>
                  <a:pt x="487560" y="421770"/>
                  <a:pt x="504684" y="438878"/>
                  <a:pt x="504684" y="459981"/>
                </a:cubicBezTo>
                <a:cubicBezTo>
                  <a:pt x="504684" y="481084"/>
                  <a:pt x="487560" y="498192"/>
                  <a:pt x="466437" y="498192"/>
                </a:cubicBezTo>
                <a:cubicBezTo>
                  <a:pt x="445314" y="498192"/>
                  <a:pt x="428190" y="481084"/>
                  <a:pt x="428190" y="459981"/>
                </a:cubicBezTo>
                <a:cubicBezTo>
                  <a:pt x="428190" y="438878"/>
                  <a:pt x="445314" y="421770"/>
                  <a:pt x="466437" y="421770"/>
                </a:cubicBezTo>
                <a:close/>
                <a:moveTo>
                  <a:pt x="453390" y="375066"/>
                </a:moveTo>
                <a:lnTo>
                  <a:pt x="421127" y="386990"/>
                </a:lnTo>
                <a:cubicBezTo>
                  <a:pt x="419191" y="387957"/>
                  <a:pt x="418223" y="389890"/>
                  <a:pt x="418868" y="392146"/>
                </a:cubicBezTo>
                <a:lnTo>
                  <a:pt x="424031" y="406325"/>
                </a:lnTo>
                <a:cubicBezTo>
                  <a:pt x="424998" y="408259"/>
                  <a:pt x="424676" y="410515"/>
                  <a:pt x="423385" y="411481"/>
                </a:cubicBezTo>
                <a:cubicBezTo>
                  <a:pt x="422417" y="412448"/>
                  <a:pt x="418223" y="414382"/>
                  <a:pt x="416287" y="413737"/>
                </a:cubicBezTo>
                <a:lnTo>
                  <a:pt x="402414" y="407292"/>
                </a:lnTo>
                <a:cubicBezTo>
                  <a:pt x="400478" y="406325"/>
                  <a:pt x="398220" y="407292"/>
                  <a:pt x="397252" y="409226"/>
                </a:cubicBezTo>
                <a:lnTo>
                  <a:pt x="383056" y="440485"/>
                </a:lnTo>
                <a:cubicBezTo>
                  <a:pt x="382088" y="442096"/>
                  <a:pt x="383056" y="444674"/>
                  <a:pt x="384669" y="445318"/>
                </a:cubicBezTo>
                <a:lnTo>
                  <a:pt x="398542" y="451764"/>
                </a:lnTo>
                <a:cubicBezTo>
                  <a:pt x="400478" y="452730"/>
                  <a:pt x="402091" y="454664"/>
                  <a:pt x="401769" y="455953"/>
                </a:cubicBezTo>
                <a:cubicBezTo>
                  <a:pt x="401769" y="457564"/>
                  <a:pt x="400156" y="462076"/>
                  <a:pt x="398220" y="462720"/>
                </a:cubicBezTo>
                <a:lnTo>
                  <a:pt x="384024" y="467876"/>
                </a:lnTo>
                <a:cubicBezTo>
                  <a:pt x="382088" y="468521"/>
                  <a:pt x="381120" y="470777"/>
                  <a:pt x="381766" y="472710"/>
                </a:cubicBezTo>
                <a:lnTo>
                  <a:pt x="393380" y="504936"/>
                </a:lnTo>
                <a:cubicBezTo>
                  <a:pt x="394348" y="506870"/>
                  <a:pt x="396607" y="507836"/>
                  <a:pt x="398542" y="507192"/>
                </a:cubicBezTo>
                <a:lnTo>
                  <a:pt x="412738" y="502036"/>
                </a:lnTo>
                <a:cubicBezTo>
                  <a:pt x="414674" y="501391"/>
                  <a:pt x="417255" y="501713"/>
                  <a:pt x="417900" y="502680"/>
                </a:cubicBezTo>
                <a:cubicBezTo>
                  <a:pt x="418868" y="503969"/>
                  <a:pt x="421127" y="508159"/>
                  <a:pt x="420159" y="510092"/>
                </a:cubicBezTo>
                <a:lnTo>
                  <a:pt x="413706" y="523949"/>
                </a:lnTo>
                <a:cubicBezTo>
                  <a:pt x="412738" y="525561"/>
                  <a:pt x="413706" y="527816"/>
                  <a:pt x="415642" y="528783"/>
                </a:cubicBezTo>
                <a:lnTo>
                  <a:pt x="446937" y="543285"/>
                </a:lnTo>
                <a:cubicBezTo>
                  <a:pt x="448873" y="544251"/>
                  <a:pt x="451132" y="543285"/>
                  <a:pt x="451777" y="541351"/>
                </a:cubicBezTo>
                <a:lnTo>
                  <a:pt x="458230" y="527494"/>
                </a:lnTo>
                <a:cubicBezTo>
                  <a:pt x="459198" y="525561"/>
                  <a:pt x="461133" y="524272"/>
                  <a:pt x="462424" y="524272"/>
                </a:cubicBezTo>
                <a:cubicBezTo>
                  <a:pt x="464037" y="524272"/>
                  <a:pt x="468554" y="525883"/>
                  <a:pt x="469199" y="528139"/>
                </a:cubicBezTo>
                <a:lnTo>
                  <a:pt x="474361" y="542318"/>
                </a:lnTo>
                <a:cubicBezTo>
                  <a:pt x="475007" y="544251"/>
                  <a:pt x="477265" y="545218"/>
                  <a:pt x="479201" y="544574"/>
                </a:cubicBezTo>
                <a:lnTo>
                  <a:pt x="511464" y="532650"/>
                </a:lnTo>
                <a:cubicBezTo>
                  <a:pt x="513400" y="532006"/>
                  <a:pt x="514368" y="529750"/>
                  <a:pt x="513723" y="527816"/>
                </a:cubicBezTo>
                <a:lnTo>
                  <a:pt x="508560" y="513315"/>
                </a:lnTo>
                <a:cubicBezTo>
                  <a:pt x="507915" y="511381"/>
                  <a:pt x="508238" y="509125"/>
                  <a:pt x="509206" y="508159"/>
                </a:cubicBezTo>
                <a:cubicBezTo>
                  <a:pt x="510496" y="507192"/>
                  <a:pt x="514691" y="505258"/>
                  <a:pt x="516626" y="506225"/>
                </a:cubicBezTo>
                <a:lnTo>
                  <a:pt x="530500" y="512348"/>
                </a:lnTo>
                <a:cubicBezTo>
                  <a:pt x="532435" y="513315"/>
                  <a:pt x="534694" y="512348"/>
                  <a:pt x="535339" y="510737"/>
                </a:cubicBezTo>
                <a:lnTo>
                  <a:pt x="549858" y="479478"/>
                </a:lnTo>
                <a:cubicBezTo>
                  <a:pt x="550825" y="477544"/>
                  <a:pt x="549858" y="475288"/>
                  <a:pt x="547922" y="474322"/>
                </a:cubicBezTo>
                <a:lnTo>
                  <a:pt x="534049" y="467876"/>
                </a:lnTo>
                <a:cubicBezTo>
                  <a:pt x="532113" y="467232"/>
                  <a:pt x="531145" y="462398"/>
                  <a:pt x="531145" y="461109"/>
                </a:cubicBezTo>
                <a:cubicBezTo>
                  <a:pt x="531145" y="459498"/>
                  <a:pt x="532435" y="457886"/>
                  <a:pt x="534694" y="457242"/>
                </a:cubicBezTo>
                <a:lnTo>
                  <a:pt x="548890" y="451764"/>
                </a:lnTo>
                <a:cubicBezTo>
                  <a:pt x="550825" y="451119"/>
                  <a:pt x="551793" y="448863"/>
                  <a:pt x="551148" y="446930"/>
                </a:cubicBezTo>
                <a:lnTo>
                  <a:pt x="539211" y="414704"/>
                </a:lnTo>
                <a:cubicBezTo>
                  <a:pt x="538565" y="412770"/>
                  <a:pt x="536307" y="411804"/>
                  <a:pt x="534371" y="412448"/>
                </a:cubicBezTo>
                <a:lnTo>
                  <a:pt x="520175" y="417604"/>
                </a:lnTo>
                <a:cubicBezTo>
                  <a:pt x="517917" y="418571"/>
                  <a:pt x="515658" y="418249"/>
                  <a:pt x="514691" y="416960"/>
                </a:cubicBezTo>
                <a:cubicBezTo>
                  <a:pt x="513723" y="415993"/>
                  <a:pt x="511787" y="411481"/>
                  <a:pt x="512755" y="409548"/>
                </a:cubicBezTo>
                <a:lnTo>
                  <a:pt x="518885" y="396013"/>
                </a:lnTo>
                <a:cubicBezTo>
                  <a:pt x="519853" y="394079"/>
                  <a:pt x="518885" y="391824"/>
                  <a:pt x="516949" y="390857"/>
                </a:cubicBezTo>
                <a:lnTo>
                  <a:pt x="485976" y="376355"/>
                </a:lnTo>
                <a:cubicBezTo>
                  <a:pt x="484040" y="375711"/>
                  <a:pt x="481782" y="376355"/>
                  <a:pt x="480814" y="378289"/>
                </a:cubicBezTo>
                <a:lnTo>
                  <a:pt x="474361" y="392146"/>
                </a:lnTo>
                <a:cubicBezTo>
                  <a:pt x="473716" y="394079"/>
                  <a:pt x="471780" y="395691"/>
                  <a:pt x="470167" y="395368"/>
                </a:cubicBezTo>
                <a:cubicBezTo>
                  <a:pt x="468877" y="395368"/>
                  <a:pt x="464360" y="393757"/>
                  <a:pt x="463714" y="391824"/>
                </a:cubicBezTo>
                <a:lnTo>
                  <a:pt x="458230" y="377322"/>
                </a:lnTo>
                <a:cubicBezTo>
                  <a:pt x="457584" y="375389"/>
                  <a:pt x="455326" y="374422"/>
                  <a:pt x="453390" y="375066"/>
                </a:cubicBezTo>
                <a:close/>
                <a:moveTo>
                  <a:pt x="0" y="372515"/>
                </a:moveTo>
                <a:cubicBezTo>
                  <a:pt x="0" y="424064"/>
                  <a:pt x="104223" y="465626"/>
                  <a:pt x="233292" y="465626"/>
                </a:cubicBezTo>
                <a:cubicBezTo>
                  <a:pt x="258461" y="465626"/>
                  <a:pt x="282661" y="464015"/>
                  <a:pt x="305248" y="461116"/>
                </a:cubicBezTo>
                <a:cubicBezTo>
                  <a:pt x="305571" y="493978"/>
                  <a:pt x="315574" y="524264"/>
                  <a:pt x="332998" y="549716"/>
                </a:cubicBezTo>
                <a:cubicBezTo>
                  <a:pt x="302667" y="555515"/>
                  <a:pt x="268786" y="558737"/>
                  <a:pt x="233292" y="558737"/>
                </a:cubicBezTo>
                <a:cubicBezTo>
                  <a:pt x="104546" y="558737"/>
                  <a:pt x="0" y="517175"/>
                  <a:pt x="0" y="465626"/>
                </a:cubicBezTo>
                <a:close/>
                <a:moveTo>
                  <a:pt x="466295" y="326083"/>
                </a:moveTo>
                <a:cubicBezTo>
                  <a:pt x="540501" y="326083"/>
                  <a:pt x="600511" y="386023"/>
                  <a:pt x="600511" y="459820"/>
                </a:cubicBezTo>
                <a:cubicBezTo>
                  <a:pt x="600511" y="533939"/>
                  <a:pt x="540501" y="593879"/>
                  <a:pt x="466295" y="593879"/>
                </a:cubicBezTo>
                <a:cubicBezTo>
                  <a:pt x="392412" y="593879"/>
                  <a:pt x="332080" y="533939"/>
                  <a:pt x="332080" y="459820"/>
                </a:cubicBezTo>
                <a:cubicBezTo>
                  <a:pt x="332080" y="386023"/>
                  <a:pt x="392412" y="326083"/>
                  <a:pt x="466295" y="326083"/>
                </a:cubicBezTo>
                <a:close/>
                <a:moveTo>
                  <a:pt x="0" y="232654"/>
                </a:moveTo>
                <a:cubicBezTo>
                  <a:pt x="0" y="284212"/>
                  <a:pt x="104554" y="326103"/>
                  <a:pt x="233309" y="326103"/>
                </a:cubicBezTo>
                <a:cubicBezTo>
                  <a:pt x="362065" y="326103"/>
                  <a:pt x="466296" y="284212"/>
                  <a:pt x="466296" y="232654"/>
                </a:cubicBezTo>
                <a:lnTo>
                  <a:pt x="466296" y="299035"/>
                </a:lnTo>
                <a:cubicBezTo>
                  <a:pt x="393689" y="299035"/>
                  <a:pt x="332377" y="347370"/>
                  <a:pt x="312370" y="413429"/>
                </a:cubicBezTo>
                <a:cubicBezTo>
                  <a:pt x="287522" y="416973"/>
                  <a:pt x="261061" y="419229"/>
                  <a:pt x="233309" y="419229"/>
                </a:cubicBezTo>
                <a:cubicBezTo>
                  <a:pt x="104231" y="419229"/>
                  <a:pt x="0" y="377338"/>
                  <a:pt x="0" y="326103"/>
                </a:cubicBezTo>
                <a:close/>
                <a:moveTo>
                  <a:pt x="233309" y="23200"/>
                </a:moveTo>
                <a:cubicBezTo>
                  <a:pt x="105199" y="23200"/>
                  <a:pt x="23234" y="64445"/>
                  <a:pt x="23234" y="93123"/>
                </a:cubicBezTo>
                <a:cubicBezTo>
                  <a:pt x="23234" y="121479"/>
                  <a:pt x="105199" y="163046"/>
                  <a:pt x="233309" y="163046"/>
                </a:cubicBezTo>
                <a:cubicBezTo>
                  <a:pt x="361420" y="163046"/>
                  <a:pt x="443062" y="121479"/>
                  <a:pt x="443062" y="93123"/>
                </a:cubicBezTo>
                <a:cubicBezTo>
                  <a:pt x="443062" y="64445"/>
                  <a:pt x="361420" y="23200"/>
                  <a:pt x="233309" y="23200"/>
                </a:cubicBezTo>
                <a:close/>
                <a:moveTo>
                  <a:pt x="233309" y="0"/>
                </a:moveTo>
                <a:cubicBezTo>
                  <a:pt x="362065" y="0"/>
                  <a:pt x="466296" y="41567"/>
                  <a:pt x="466296" y="93123"/>
                </a:cubicBezTo>
                <a:lnTo>
                  <a:pt x="466296" y="186246"/>
                </a:lnTo>
                <a:cubicBezTo>
                  <a:pt x="466296" y="237802"/>
                  <a:pt x="362065" y="279369"/>
                  <a:pt x="233309" y="279369"/>
                </a:cubicBezTo>
                <a:cubicBezTo>
                  <a:pt x="104231" y="279369"/>
                  <a:pt x="0" y="237802"/>
                  <a:pt x="0" y="186246"/>
                </a:cubicBezTo>
                <a:lnTo>
                  <a:pt x="0" y="93123"/>
                </a:lnTo>
                <a:cubicBezTo>
                  <a:pt x="0" y="41567"/>
                  <a:pt x="104554" y="0"/>
                  <a:pt x="23330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51" name="ïṣľîḋê"/>
          <p:cNvSpPr/>
          <p:nvPr/>
        </p:nvSpPr>
        <p:spPr>
          <a:xfrm>
            <a:off x="3255701" y="1637882"/>
            <a:ext cx="8051950" cy="1271414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>
              <a:lnSpc>
                <a:spcPct val="150000"/>
              </a:lnSpc>
            </a:pPr>
            <a:r>
              <a:rPr lang="zh-CN" altLang="en-US" sz="2400" dirty="0">
                <a:solidFill>
                  <a:srgbClr val="0000FF"/>
                </a:solidFill>
              </a:rPr>
              <a:t>系统安全</a:t>
            </a:r>
            <a:endParaRPr lang="en-US" altLang="zh-CN" sz="2400" dirty="0">
              <a:solidFill>
                <a:srgbClr val="0000FF"/>
              </a:solidFill>
            </a:endParaRP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认证技术、密码技术、访问控制技术、反病毒技术。</a:t>
            </a:r>
          </a:p>
        </p:txBody>
      </p:sp>
      <p:sp>
        <p:nvSpPr>
          <p:cNvPr id="53" name="îṧľïdè"/>
          <p:cNvSpPr/>
          <p:nvPr/>
        </p:nvSpPr>
        <p:spPr>
          <a:xfrm>
            <a:off x="3829495" y="3136709"/>
            <a:ext cx="6512240" cy="1066230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>
              <a:lnSpc>
                <a:spcPct val="132000"/>
              </a:lnSpc>
            </a:pPr>
            <a:r>
              <a:rPr lang="zh-CN" altLang="en-US" sz="2400" dirty="0">
                <a:solidFill>
                  <a:srgbClr val="0000FF"/>
                </a:solidFill>
              </a:rPr>
              <a:t>网络功能和服务</a:t>
            </a:r>
            <a:endParaRPr lang="en-US" altLang="zh-CN" sz="2400" dirty="0">
              <a:solidFill>
                <a:srgbClr val="0000FF"/>
              </a:solidFill>
            </a:endParaRPr>
          </a:p>
          <a:p>
            <a:pPr marL="342900" indent="-342900">
              <a:lnSpc>
                <a:spcPct val="132000"/>
              </a:lnSpc>
              <a:buFont typeface="Wingdings" panose="05000000000000000000" pitchFamily="2" charset="2"/>
              <a:buChar char="Ø"/>
            </a:pPr>
            <a:r>
              <a:rPr lang="zh-CN" altLang="en-US" sz="2400" dirty="0"/>
              <a:t>网络通信、资源管理、应用互操作。</a:t>
            </a:r>
          </a:p>
        </p:txBody>
      </p:sp>
      <p:sp>
        <p:nvSpPr>
          <p:cNvPr id="55" name="ïśļíde"/>
          <p:cNvSpPr/>
          <p:nvPr/>
        </p:nvSpPr>
        <p:spPr>
          <a:xfrm>
            <a:off x="3336536" y="4672403"/>
            <a:ext cx="7498158" cy="883466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lnSpcReduction="10000"/>
          </a:bodyPr>
          <a:lstStyle/>
          <a:p>
            <a:r>
              <a:rPr lang="zh-CN" altLang="en-US" sz="2400" dirty="0">
                <a:solidFill>
                  <a:srgbClr val="0000FF"/>
                </a:solidFill>
              </a:rPr>
              <a:t>支持多媒体</a:t>
            </a:r>
            <a:endParaRPr lang="en-US" altLang="zh-CN" sz="2400" dirty="0">
              <a:solidFill>
                <a:srgbClr val="0000FF"/>
              </a:solidFill>
            </a:endParaRPr>
          </a:p>
          <a:p>
            <a:pPr marL="342900" indent="-342900">
              <a:lnSpc>
                <a:spcPct val="132000"/>
              </a:lnSpc>
              <a:buFont typeface="Wingdings" panose="05000000000000000000" pitchFamily="2" charset="2"/>
              <a:buChar char="Ø"/>
            </a:pPr>
            <a:r>
              <a:rPr lang="zh-CN" altLang="en-US" sz="2400" dirty="0"/>
              <a:t>接纳控制技术、实时调度、多媒体文件的存储。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solidFill>
                  <a:srgbClr val="00005C"/>
                </a:solidFill>
                <a:latin typeface="+mj-ea"/>
                <a:ea typeface="+mj-ea"/>
              </a:rPr>
              <a:t>1.1 </a:t>
            </a:r>
            <a:r>
              <a:rPr lang="zh-CN" altLang="en-US" sz="2400" dirty="0">
                <a:solidFill>
                  <a:srgbClr val="00005C"/>
                </a:solidFill>
                <a:latin typeface="+mj-ea"/>
                <a:ea typeface="+mj-ea"/>
              </a:rPr>
              <a:t>操作系统的目标和作用</a:t>
            </a:r>
            <a:endParaRPr lang="en-US" altLang="zh-CN" sz="2400" dirty="0">
              <a:solidFill>
                <a:srgbClr val="00005C"/>
              </a:solidFill>
              <a:latin typeface="+mj-ea"/>
              <a:ea typeface="+mj-ea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2 </a:t>
            </a:r>
            <a:r>
              <a:rPr lang="zh-CN" altLang="en-US" sz="2400" dirty="0">
                <a:latin typeface="+mj-ea"/>
              </a:rPr>
              <a:t>操作系统的发展过程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3 </a:t>
            </a:r>
            <a:r>
              <a:rPr lang="zh-CN" altLang="en-US" sz="2400" dirty="0">
                <a:latin typeface="+mj-ea"/>
              </a:rPr>
              <a:t>操作系统的基本特征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4 </a:t>
            </a:r>
            <a:r>
              <a:rPr lang="zh-CN" altLang="en-US" sz="2400" dirty="0">
                <a:latin typeface="+mj-ea"/>
              </a:rPr>
              <a:t>操作系统的运行环境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233048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5 </a:t>
            </a:r>
            <a:r>
              <a:rPr lang="zh-CN" altLang="en-US" sz="2400" dirty="0">
                <a:latin typeface="+mj-ea"/>
              </a:rPr>
              <a:t>操作系统的主要功能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852173"/>
            <a:ext cx="3682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</a:rPr>
              <a:t>1.6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</a:rPr>
              <a:t>操作系统的结构设计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471298"/>
            <a:ext cx="258744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7 </a:t>
            </a:r>
            <a:r>
              <a:rPr lang="zh-CN" altLang="en-US" sz="2400" dirty="0">
                <a:latin typeface="+mj-ea"/>
              </a:rPr>
              <a:t>系统调用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26270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1</a:t>
            </a:r>
            <a:r>
              <a:rPr lang="zh-CN" altLang="en-US" sz="3600" dirty="0">
                <a:solidFill>
                  <a:srgbClr val="000000"/>
                </a:solidFill>
              </a:rPr>
              <a:t>章 操作系统引论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565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233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42408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操作系统结构设计</a:t>
            </a:r>
          </a:p>
        </p:txBody>
      </p:sp>
      <p:sp>
        <p:nvSpPr>
          <p:cNvPr id="13" name="iṥḷîdé"/>
          <p:cNvSpPr/>
          <p:nvPr/>
        </p:nvSpPr>
        <p:spPr bwMode="auto">
          <a:xfrm rot="610268">
            <a:off x="4224180" y="3695598"/>
            <a:ext cx="1187744" cy="1497020"/>
          </a:xfrm>
          <a:prstGeom prst="rtTriangle">
            <a:avLst/>
          </a:prstGeom>
          <a:solidFill>
            <a:schemeClr val="bg1">
              <a:lumMod val="65000"/>
            </a:schemeClr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ïš1iďe"/>
          <p:cNvSpPr/>
          <p:nvPr/>
        </p:nvSpPr>
        <p:spPr bwMode="auto">
          <a:xfrm rot="16200000">
            <a:off x="1772352" y="1064207"/>
            <a:ext cx="1296144" cy="2052228"/>
          </a:xfrm>
          <a:prstGeom prst="triangle">
            <a:avLst/>
          </a:prstGeom>
          <a:solidFill>
            <a:schemeClr val="bg1">
              <a:lumMod val="65000"/>
            </a:schemeClr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5" name="ïṥliḋe"/>
          <p:cNvSpPr/>
          <p:nvPr/>
        </p:nvSpPr>
        <p:spPr bwMode="auto">
          <a:xfrm rot="3712223">
            <a:off x="855993" y="1330709"/>
            <a:ext cx="4066498" cy="4482407"/>
          </a:xfrm>
          <a:custGeom>
            <a:avLst/>
            <a:gdLst>
              <a:gd name="connsiteX0" fmla="*/ 0 w 4066498"/>
              <a:gd name="connsiteY0" fmla="*/ 2863075 h 4482407"/>
              <a:gd name="connsiteX1" fmla="*/ 1937533 w 4066498"/>
              <a:gd name="connsiteY1" fmla="*/ 0 h 4482407"/>
              <a:gd name="connsiteX2" fmla="*/ 4066498 w 4066498"/>
              <a:gd name="connsiteY2" fmla="*/ 1138176 h 4482407"/>
              <a:gd name="connsiteX3" fmla="*/ 3028971 w 4066498"/>
              <a:gd name="connsiteY3" fmla="*/ 4482407 h 4482407"/>
              <a:gd name="connsiteX4" fmla="*/ 0 w 4066498"/>
              <a:gd name="connsiteY4" fmla="*/ 2863075 h 4482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66498" h="4482407">
                <a:moveTo>
                  <a:pt x="0" y="2863075"/>
                </a:moveTo>
                <a:lnTo>
                  <a:pt x="1937533" y="0"/>
                </a:lnTo>
                <a:lnTo>
                  <a:pt x="4066498" y="1138176"/>
                </a:lnTo>
                <a:lnTo>
                  <a:pt x="3028971" y="4482407"/>
                </a:lnTo>
                <a:lnTo>
                  <a:pt x="0" y="286307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6" name="íṧḷiḍe"/>
          <p:cNvSpPr/>
          <p:nvPr/>
        </p:nvSpPr>
        <p:spPr>
          <a:xfrm rot="10800000" flipV="1">
            <a:off x="1510436" y="3209926"/>
            <a:ext cx="2972566" cy="823924"/>
          </a:xfrm>
          <a:prstGeom prst="rect">
            <a:avLst/>
          </a:prstGeom>
        </p:spPr>
        <p:txBody>
          <a:bodyPr vert="horz" wrap="square" lIns="91440" tIns="45720" rIns="91440" bIns="45720" anchor="ctr">
            <a:normAutofit/>
          </a:bodyPr>
          <a:lstStyle/>
          <a:p>
            <a:pPr algn="ctr"/>
            <a:r>
              <a:rPr lang="en-US" altLang="zh-CN" sz="2800" b="1" i="1" dirty="0"/>
              <a:t>/CONTENT/</a:t>
            </a:r>
          </a:p>
        </p:txBody>
      </p:sp>
      <p:sp>
        <p:nvSpPr>
          <p:cNvPr id="17" name="îşļïďè"/>
          <p:cNvSpPr/>
          <p:nvPr/>
        </p:nvSpPr>
        <p:spPr>
          <a:xfrm>
            <a:off x="5747289" y="4824638"/>
            <a:ext cx="1113511" cy="1113511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400">
                <a:solidFill>
                  <a:schemeClr val="bg1"/>
                </a:solidFill>
                <a:latin typeface="+mj-lt"/>
              </a:rPr>
              <a:t>05</a:t>
            </a:r>
          </a:p>
        </p:txBody>
      </p:sp>
      <p:sp>
        <p:nvSpPr>
          <p:cNvPr id="18" name="îšḷîḑé"/>
          <p:cNvSpPr txBox="1"/>
          <p:nvPr/>
        </p:nvSpPr>
        <p:spPr>
          <a:xfrm>
            <a:off x="7002468" y="5147923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/>
          <a:p>
            <a:pPr>
              <a:buClr>
                <a:srgbClr val="E71101"/>
              </a:buClr>
            </a:pPr>
            <a:r>
              <a:rPr lang="zh-CN" altLang="en-US" sz="2400" dirty="0">
                <a:solidFill>
                  <a:srgbClr val="0000FF"/>
                </a:solidFill>
              </a:rPr>
              <a:t>外核结构</a:t>
            </a:r>
          </a:p>
        </p:txBody>
      </p:sp>
      <p:sp>
        <p:nvSpPr>
          <p:cNvPr id="21" name="işlíḋé"/>
          <p:cNvSpPr/>
          <p:nvPr/>
        </p:nvSpPr>
        <p:spPr>
          <a:xfrm>
            <a:off x="5752728" y="3946062"/>
            <a:ext cx="1113511" cy="1113511"/>
          </a:xfrm>
          <a:prstGeom prst="diamond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400">
                <a:solidFill>
                  <a:schemeClr val="bg1"/>
                </a:solidFill>
                <a:latin typeface="+mj-lt"/>
              </a:rPr>
              <a:t>04</a:t>
            </a:r>
          </a:p>
        </p:txBody>
      </p:sp>
      <p:sp>
        <p:nvSpPr>
          <p:cNvPr id="22" name="iṥlïḋè"/>
          <p:cNvSpPr txBox="1"/>
          <p:nvPr/>
        </p:nvSpPr>
        <p:spPr>
          <a:xfrm>
            <a:off x="7002468" y="4269347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 lnSpcReduction="10000"/>
          </a:bodyPr>
          <a:lstStyle/>
          <a:p>
            <a:pPr>
              <a:buClr>
                <a:srgbClr val="E71101"/>
              </a:buClr>
            </a:pPr>
            <a:r>
              <a:rPr lang="zh-CN" altLang="en-US" sz="2400" dirty="0">
                <a:solidFill>
                  <a:srgbClr val="0000FF"/>
                </a:solidFill>
              </a:rPr>
              <a:t>微内核结构</a:t>
            </a:r>
            <a:endParaRPr lang="en-US" altLang="zh-CN" sz="2400" dirty="0">
              <a:solidFill>
                <a:srgbClr val="0000FF"/>
              </a:solidFill>
            </a:endParaRPr>
          </a:p>
        </p:txBody>
      </p:sp>
      <p:sp>
        <p:nvSpPr>
          <p:cNvPr id="24" name="i$1îḑe"/>
          <p:cNvSpPr/>
          <p:nvPr/>
        </p:nvSpPr>
        <p:spPr>
          <a:xfrm>
            <a:off x="5752728" y="3067486"/>
            <a:ext cx="1113511" cy="1113511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400">
                <a:solidFill>
                  <a:schemeClr val="bg1"/>
                </a:solidFill>
                <a:latin typeface="+mj-lt"/>
              </a:rPr>
              <a:t>03</a:t>
            </a:r>
          </a:p>
        </p:txBody>
      </p:sp>
      <p:sp>
        <p:nvSpPr>
          <p:cNvPr id="25" name="í$1îḍe"/>
          <p:cNvSpPr txBox="1"/>
          <p:nvPr/>
        </p:nvSpPr>
        <p:spPr>
          <a:xfrm>
            <a:off x="7002468" y="3390771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 lnSpcReduction="10000"/>
          </a:bodyPr>
          <a:lstStyle/>
          <a:p>
            <a:pPr>
              <a:buClr>
                <a:srgbClr val="E71101"/>
              </a:buClr>
            </a:pPr>
            <a:r>
              <a:rPr lang="zh-CN" altLang="en-US" sz="2400" dirty="0">
                <a:solidFill>
                  <a:srgbClr val="0000FF"/>
                </a:solidFill>
              </a:rPr>
              <a:t>分层式结构</a:t>
            </a:r>
            <a:endParaRPr lang="en-US" altLang="zh-CN" sz="2400" dirty="0">
              <a:solidFill>
                <a:srgbClr val="0000FF"/>
              </a:solidFill>
            </a:endParaRPr>
          </a:p>
        </p:txBody>
      </p:sp>
      <p:sp>
        <p:nvSpPr>
          <p:cNvPr id="27" name="ïSļïḓè"/>
          <p:cNvSpPr/>
          <p:nvPr/>
        </p:nvSpPr>
        <p:spPr>
          <a:xfrm>
            <a:off x="5752728" y="2188910"/>
            <a:ext cx="1113511" cy="1113511"/>
          </a:xfrm>
          <a:prstGeom prst="diamond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400">
                <a:solidFill>
                  <a:schemeClr val="bg1"/>
                </a:solidFill>
                <a:latin typeface="+mj-lt"/>
              </a:rPr>
              <a:t>02</a:t>
            </a:r>
          </a:p>
        </p:txBody>
      </p:sp>
      <p:sp>
        <p:nvSpPr>
          <p:cNvPr id="28" name="iŝļíďè"/>
          <p:cNvSpPr txBox="1"/>
          <p:nvPr/>
        </p:nvSpPr>
        <p:spPr>
          <a:xfrm>
            <a:off x="7002468" y="2512195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 lnSpcReduction="10000"/>
          </a:bodyPr>
          <a:lstStyle/>
          <a:p>
            <a:pPr>
              <a:buClr>
                <a:srgbClr val="E71101"/>
              </a:buClr>
            </a:pPr>
            <a:r>
              <a:rPr lang="zh-CN" altLang="en-US" sz="2400" dirty="0">
                <a:solidFill>
                  <a:srgbClr val="0000FF"/>
                </a:solidFill>
              </a:rPr>
              <a:t>模块化结构</a:t>
            </a:r>
            <a:endParaRPr lang="en-US" altLang="zh-CN" sz="2400" dirty="0">
              <a:solidFill>
                <a:srgbClr val="0000FF"/>
              </a:solidFill>
            </a:endParaRPr>
          </a:p>
        </p:txBody>
      </p:sp>
      <p:sp>
        <p:nvSpPr>
          <p:cNvPr id="30" name="ïśľiďe"/>
          <p:cNvSpPr/>
          <p:nvPr/>
        </p:nvSpPr>
        <p:spPr>
          <a:xfrm>
            <a:off x="5752730" y="1310334"/>
            <a:ext cx="1113511" cy="1113511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400">
                <a:solidFill>
                  <a:schemeClr val="bg1"/>
                </a:solidFill>
                <a:latin typeface="+mj-lt"/>
              </a:rPr>
              <a:t>01</a:t>
            </a:r>
          </a:p>
        </p:txBody>
      </p:sp>
      <p:sp>
        <p:nvSpPr>
          <p:cNvPr id="31" name="îṡ1ide"/>
          <p:cNvSpPr txBox="1"/>
          <p:nvPr/>
        </p:nvSpPr>
        <p:spPr>
          <a:xfrm>
            <a:off x="7002468" y="1633619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/>
          <a:p>
            <a:pPr>
              <a:buClr>
                <a:srgbClr val="E71101"/>
              </a:buClr>
            </a:pPr>
            <a:r>
              <a:rPr lang="zh-CN" altLang="en-US" sz="2400" dirty="0">
                <a:solidFill>
                  <a:srgbClr val="0000FF"/>
                </a:solidFill>
              </a:rPr>
              <a:t>简单结构</a:t>
            </a:r>
            <a:endParaRPr lang="en-US" altLang="zh-CN" sz="2400" dirty="0">
              <a:solidFill>
                <a:srgbClr val="0000FF"/>
              </a:solidFill>
            </a:endParaRPr>
          </a:p>
        </p:txBody>
      </p:sp>
      <p:cxnSp>
        <p:nvCxnSpPr>
          <p:cNvPr id="33" name="直接连接符 32"/>
          <p:cNvCxnSpPr/>
          <p:nvPr/>
        </p:nvCxnSpPr>
        <p:spPr>
          <a:xfrm>
            <a:off x="6860799" y="2216515"/>
            <a:ext cx="465968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33"/>
          <p:cNvCxnSpPr/>
          <p:nvPr/>
        </p:nvCxnSpPr>
        <p:spPr>
          <a:xfrm>
            <a:off x="6860799" y="3104616"/>
            <a:ext cx="465968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连接符 34"/>
          <p:cNvCxnSpPr/>
          <p:nvPr/>
        </p:nvCxnSpPr>
        <p:spPr>
          <a:xfrm>
            <a:off x="6860799" y="3999966"/>
            <a:ext cx="465968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连接符 35"/>
          <p:cNvCxnSpPr/>
          <p:nvPr/>
        </p:nvCxnSpPr>
        <p:spPr>
          <a:xfrm>
            <a:off x="6860799" y="4895316"/>
            <a:ext cx="465968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操作系统的基本特征</a:t>
            </a:r>
          </a:p>
        </p:txBody>
      </p:sp>
      <p:grpSp>
        <p:nvGrpSpPr>
          <p:cNvPr id="58" name="2176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54015" y="1080592"/>
            <a:ext cx="11246982" cy="5160785"/>
            <a:chOff x="673099" y="1260897"/>
            <a:chExt cx="11246982" cy="5160785"/>
          </a:xfrm>
        </p:grpSpPr>
        <p:sp>
          <p:nvSpPr>
            <p:cNvPr id="59" name="ïsḷîḋê"/>
            <p:cNvSpPr/>
            <p:nvPr/>
          </p:nvSpPr>
          <p:spPr>
            <a:xfrm>
              <a:off x="673100" y="1929384"/>
              <a:ext cx="10845800" cy="2125980"/>
            </a:xfrm>
            <a:prstGeom prst="rightArrow">
              <a:avLst>
                <a:gd name="adj1" fmla="val 50000"/>
                <a:gd name="adj2" fmla="val 4225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60" name="ïṩḻíḑe"/>
            <p:cNvSpPr/>
            <p:nvPr/>
          </p:nvSpPr>
          <p:spPr>
            <a:xfrm rot="2700000">
              <a:off x="1148317" y="2189617"/>
              <a:ext cx="1605516" cy="1605516"/>
            </a:xfrm>
            <a:custGeom>
              <a:avLst/>
              <a:gdLst>
                <a:gd name="connsiteX0" fmla="*/ 135628 w 1605516"/>
                <a:gd name="connsiteY0" fmla="*/ 135628 h 1605516"/>
                <a:gd name="connsiteX1" fmla="*/ 463063 w 1605516"/>
                <a:gd name="connsiteY1" fmla="*/ 0 h 1605516"/>
                <a:gd name="connsiteX2" fmla="*/ 1142453 w 1605516"/>
                <a:gd name="connsiteY2" fmla="*/ 0 h 1605516"/>
                <a:gd name="connsiteX3" fmla="*/ 1605516 w 1605516"/>
                <a:gd name="connsiteY3" fmla="*/ 463063 h 1605516"/>
                <a:gd name="connsiteX4" fmla="*/ 1605516 w 1605516"/>
                <a:gd name="connsiteY4" fmla="*/ 1142453 h 1605516"/>
                <a:gd name="connsiteX5" fmla="*/ 1142453 w 1605516"/>
                <a:gd name="connsiteY5" fmla="*/ 1605516 h 1605516"/>
                <a:gd name="connsiteX6" fmla="*/ 463063 w 1605516"/>
                <a:gd name="connsiteY6" fmla="*/ 1605516 h 1605516"/>
                <a:gd name="connsiteX7" fmla="*/ 282818 w 1605516"/>
                <a:gd name="connsiteY7" fmla="*/ 1569126 h 1605516"/>
                <a:gd name="connsiteX8" fmla="*/ 247355 w 1605516"/>
                <a:gd name="connsiteY8" fmla="*/ 1549878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637 w 1605516"/>
                <a:gd name="connsiteY14" fmla="*/ 1358159 h 1605516"/>
                <a:gd name="connsiteX15" fmla="*/ 36390 w 1605516"/>
                <a:gd name="connsiteY15" fmla="*/ 1322698 h 1605516"/>
                <a:gd name="connsiteX16" fmla="*/ 0 w 1605516"/>
                <a:gd name="connsiteY16" fmla="*/ 1142453 h 1605516"/>
                <a:gd name="connsiteX17" fmla="*/ 0 w 1605516"/>
                <a:gd name="connsiteY17" fmla="*/ 463063 h 1605516"/>
                <a:gd name="connsiteX18" fmla="*/ 135628 w 1605516"/>
                <a:gd name="connsiteY18" fmla="*/ 135628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628" y="135628"/>
                  </a:moveTo>
                  <a:cubicBezTo>
                    <a:pt x="219426" y="51830"/>
                    <a:pt x="335192" y="0"/>
                    <a:pt x="463063" y="0"/>
                  </a:cubicBezTo>
                  <a:lnTo>
                    <a:pt x="1142453" y="0"/>
                  </a:lnTo>
                  <a:cubicBezTo>
                    <a:pt x="1398196" y="0"/>
                    <a:pt x="1605516" y="207320"/>
                    <a:pt x="1605516" y="463063"/>
                  </a:cubicBezTo>
                  <a:lnTo>
                    <a:pt x="1605516" y="1142453"/>
                  </a:lnTo>
                  <a:cubicBezTo>
                    <a:pt x="1605516" y="1398196"/>
                    <a:pt x="1398196" y="1605516"/>
                    <a:pt x="1142453" y="1605516"/>
                  </a:cubicBezTo>
                  <a:lnTo>
                    <a:pt x="463063" y="1605516"/>
                  </a:lnTo>
                  <a:cubicBezTo>
                    <a:pt x="399127" y="1605516"/>
                    <a:pt x="338218" y="1592559"/>
                    <a:pt x="282818" y="1569126"/>
                  </a:cubicBezTo>
                  <a:lnTo>
                    <a:pt x="247355" y="1549878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637" y="1358159"/>
                  </a:lnTo>
                  <a:lnTo>
                    <a:pt x="36390" y="1322698"/>
                  </a:lnTo>
                  <a:cubicBezTo>
                    <a:pt x="12957" y="1267298"/>
                    <a:pt x="0" y="1206389"/>
                    <a:pt x="0" y="1142453"/>
                  </a:cubicBezTo>
                  <a:lnTo>
                    <a:pt x="0" y="463063"/>
                  </a:lnTo>
                  <a:cubicBezTo>
                    <a:pt x="0" y="335192"/>
                    <a:pt x="51830" y="219426"/>
                    <a:pt x="135628" y="135628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61" name="is1íḑe"/>
            <p:cNvSpPr/>
            <p:nvPr/>
          </p:nvSpPr>
          <p:spPr>
            <a:xfrm rot="2700000">
              <a:off x="3911600" y="2189617"/>
              <a:ext cx="1605516" cy="1605516"/>
            </a:xfrm>
            <a:custGeom>
              <a:avLst/>
              <a:gdLst>
                <a:gd name="connsiteX0" fmla="*/ 135459 w 1605516"/>
                <a:gd name="connsiteY0" fmla="*/ 135459 h 1605516"/>
                <a:gd name="connsiteX1" fmla="*/ 462485 w 1605516"/>
                <a:gd name="connsiteY1" fmla="*/ 0 h 1605516"/>
                <a:gd name="connsiteX2" fmla="*/ 1143031 w 1605516"/>
                <a:gd name="connsiteY2" fmla="*/ 0 h 1605516"/>
                <a:gd name="connsiteX3" fmla="*/ 1605516 w 1605516"/>
                <a:gd name="connsiteY3" fmla="*/ 462485 h 1605516"/>
                <a:gd name="connsiteX4" fmla="*/ 1605516 w 1605516"/>
                <a:gd name="connsiteY4" fmla="*/ 1143031 h 1605516"/>
                <a:gd name="connsiteX5" fmla="*/ 1143031 w 1605516"/>
                <a:gd name="connsiteY5" fmla="*/ 1605516 h 1605516"/>
                <a:gd name="connsiteX6" fmla="*/ 462485 w 1605516"/>
                <a:gd name="connsiteY6" fmla="*/ 1605516 h 1605516"/>
                <a:gd name="connsiteX7" fmla="*/ 282465 w 1605516"/>
                <a:gd name="connsiteY7" fmla="*/ 1569172 h 1605516"/>
                <a:gd name="connsiteX8" fmla="*/ 247202 w 1605516"/>
                <a:gd name="connsiteY8" fmla="*/ 1550031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84 w 1605516"/>
                <a:gd name="connsiteY14" fmla="*/ 1358313 h 1605516"/>
                <a:gd name="connsiteX15" fmla="*/ 36345 w 1605516"/>
                <a:gd name="connsiteY15" fmla="*/ 1323051 h 1605516"/>
                <a:gd name="connsiteX16" fmla="*/ 0 w 1605516"/>
                <a:gd name="connsiteY16" fmla="*/ 1143031 h 1605516"/>
                <a:gd name="connsiteX17" fmla="*/ 0 w 1605516"/>
                <a:gd name="connsiteY17" fmla="*/ 462485 h 1605516"/>
                <a:gd name="connsiteX18" fmla="*/ 135459 w 1605516"/>
                <a:gd name="connsiteY18" fmla="*/ 135459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59" y="135459"/>
                  </a:moveTo>
                  <a:cubicBezTo>
                    <a:pt x="219152" y="51765"/>
                    <a:pt x="334773" y="0"/>
                    <a:pt x="462485" y="0"/>
                  </a:cubicBezTo>
                  <a:lnTo>
                    <a:pt x="1143031" y="0"/>
                  </a:lnTo>
                  <a:cubicBezTo>
                    <a:pt x="1398454" y="0"/>
                    <a:pt x="1605516" y="207062"/>
                    <a:pt x="1605516" y="462485"/>
                  </a:cubicBezTo>
                  <a:lnTo>
                    <a:pt x="1605516" y="1143031"/>
                  </a:lnTo>
                  <a:cubicBezTo>
                    <a:pt x="1605516" y="1398454"/>
                    <a:pt x="1398454" y="1605516"/>
                    <a:pt x="1143031" y="1605516"/>
                  </a:cubicBezTo>
                  <a:lnTo>
                    <a:pt x="462485" y="1605516"/>
                  </a:lnTo>
                  <a:cubicBezTo>
                    <a:pt x="398629" y="1605516"/>
                    <a:pt x="337796" y="1592575"/>
                    <a:pt x="282465" y="1569172"/>
                  </a:cubicBezTo>
                  <a:lnTo>
                    <a:pt x="247202" y="1550031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84" y="1358313"/>
                  </a:lnTo>
                  <a:lnTo>
                    <a:pt x="36345" y="1323051"/>
                  </a:lnTo>
                  <a:cubicBezTo>
                    <a:pt x="12941" y="1267720"/>
                    <a:pt x="0" y="1206887"/>
                    <a:pt x="0" y="1143031"/>
                  </a:cubicBezTo>
                  <a:lnTo>
                    <a:pt x="0" y="462485"/>
                  </a:lnTo>
                  <a:cubicBezTo>
                    <a:pt x="0" y="334773"/>
                    <a:pt x="51765" y="219152"/>
                    <a:pt x="135459" y="1354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62" name="íṡ1ïḋé"/>
            <p:cNvSpPr/>
            <p:nvPr/>
          </p:nvSpPr>
          <p:spPr>
            <a:xfrm rot="2700000">
              <a:off x="6674883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7 w 1605516"/>
                <a:gd name="connsiteY7" fmla="*/ 1569179 h 1605516"/>
                <a:gd name="connsiteX8" fmla="*/ 247177 w 1605516"/>
                <a:gd name="connsiteY8" fmla="*/ 1550057 h 1605516"/>
                <a:gd name="connsiteX9" fmla="*/ 706899 w 1605516"/>
                <a:gd name="connsiteY9" fmla="*/ 1090335 h 1605516"/>
                <a:gd name="connsiteX10" fmla="*/ 802758 w 1605516"/>
                <a:gd name="connsiteY10" fmla="*/ 1186194 h 1605516"/>
                <a:gd name="connsiteX11" fmla="*/ 802758 w 1605516"/>
                <a:gd name="connsiteY11" fmla="*/ 802758 h 1605516"/>
                <a:gd name="connsiteX12" fmla="*/ 419322 w 1605516"/>
                <a:gd name="connsiteY12" fmla="*/ 802758 h 1605516"/>
                <a:gd name="connsiteX13" fmla="*/ 515181 w 1605516"/>
                <a:gd name="connsiteY13" fmla="*/ 898617 h 1605516"/>
                <a:gd name="connsiteX14" fmla="*/ 55459 w 1605516"/>
                <a:gd name="connsiteY14" fmla="*/ 1358339 h 1605516"/>
                <a:gd name="connsiteX15" fmla="*/ 36337 w 1605516"/>
                <a:gd name="connsiteY15" fmla="*/ 1323109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6" y="1605516"/>
                    <a:pt x="337726" y="1592577"/>
                    <a:pt x="282407" y="1569179"/>
                  </a:cubicBezTo>
                  <a:lnTo>
                    <a:pt x="247177" y="1550057"/>
                  </a:lnTo>
                  <a:lnTo>
                    <a:pt x="706899" y="1090335"/>
                  </a:lnTo>
                  <a:lnTo>
                    <a:pt x="802758" y="1186194"/>
                  </a:lnTo>
                  <a:lnTo>
                    <a:pt x="802758" y="802758"/>
                  </a:lnTo>
                  <a:lnTo>
                    <a:pt x="419322" y="802758"/>
                  </a:lnTo>
                  <a:lnTo>
                    <a:pt x="515181" y="898617"/>
                  </a:lnTo>
                  <a:lnTo>
                    <a:pt x="55459" y="1358339"/>
                  </a:lnTo>
                  <a:lnTo>
                    <a:pt x="36337" y="1323109"/>
                  </a:lnTo>
                  <a:cubicBezTo>
                    <a:pt x="12939" y="1267790"/>
                    <a:pt x="0" y="1206970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63" name="îṡlíḓè"/>
            <p:cNvSpPr/>
            <p:nvPr/>
          </p:nvSpPr>
          <p:spPr>
            <a:xfrm rot="2700000">
              <a:off x="9438167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6 w 1605516"/>
                <a:gd name="connsiteY7" fmla="*/ 1569179 h 1605516"/>
                <a:gd name="connsiteX8" fmla="*/ 247176 w 1605516"/>
                <a:gd name="connsiteY8" fmla="*/ 1550057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59 w 1605516"/>
                <a:gd name="connsiteY14" fmla="*/ 1358338 h 1605516"/>
                <a:gd name="connsiteX15" fmla="*/ 36337 w 1605516"/>
                <a:gd name="connsiteY15" fmla="*/ 1323110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7" y="1605516"/>
                    <a:pt x="337726" y="1592577"/>
                    <a:pt x="282406" y="1569179"/>
                  </a:cubicBezTo>
                  <a:lnTo>
                    <a:pt x="247176" y="1550057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59" y="1358338"/>
                  </a:lnTo>
                  <a:lnTo>
                    <a:pt x="36337" y="1323110"/>
                  </a:lnTo>
                  <a:cubicBezTo>
                    <a:pt x="12939" y="1267790"/>
                    <a:pt x="0" y="1206969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64" name="ï$1iḍe"/>
            <p:cNvSpPr txBox="1"/>
            <p:nvPr/>
          </p:nvSpPr>
          <p:spPr>
            <a:xfrm>
              <a:off x="738159" y="1491721"/>
              <a:ext cx="2687137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r"/>
              <a:r>
                <a:rPr lang="zh-CN" altLang="en-US" sz="2200" b="1" dirty="0">
                  <a:solidFill>
                    <a:srgbClr val="FF0000"/>
                  </a:solidFill>
                </a:rPr>
                <a:t>并发</a:t>
              </a:r>
              <a:r>
                <a:rPr lang="en-US" altLang="zh-CN" sz="2200" b="1" dirty="0"/>
                <a:t>(Concurrence)</a:t>
              </a:r>
            </a:p>
          </p:txBody>
        </p:sp>
        <p:sp>
          <p:nvSpPr>
            <p:cNvPr id="65" name="isľîdê"/>
            <p:cNvSpPr txBox="1"/>
            <p:nvPr/>
          </p:nvSpPr>
          <p:spPr>
            <a:xfrm>
              <a:off x="673099" y="4123968"/>
              <a:ext cx="2598408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dirty="0"/>
                <a:t>并行性：两个或多个事件在同一时刻发生</a:t>
              </a:r>
            </a:p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dirty="0"/>
                <a:t>并发性：两个或多个事件在同一时间间隔内发生</a:t>
              </a:r>
            </a:p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dirty="0"/>
                <a:t>引入进程（任务）：动态、并发</a:t>
              </a:r>
            </a:p>
          </p:txBody>
        </p:sp>
        <p:sp>
          <p:nvSpPr>
            <p:cNvPr id="66" name="íṩ1ïḑe"/>
            <p:cNvSpPr txBox="1"/>
            <p:nvPr/>
          </p:nvSpPr>
          <p:spPr>
            <a:xfrm>
              <a:off x="3743577" y="1491721"/>
              <a:ext cx="2204373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>
                <a:lnSpc>
                  <a:spcPct val="110000"/>
                </a:lnSpc>
              </a:pPr>
              <a:r>
                <a:rPr lang="zh-CN" altLang="en-US" sz="2400" b="1" dirty="0">
                  <a:solidFill>
                    <a:srgbClr val="FF0000"/>
                  </a:solidFill>
                </a:rPr>
                <a:t>共享</a:t>
              </a:r>
              <a:r>
                <a:rPr lang="en-US" altLang="zh-CN" sz="2400" b="1" dirty="0"/>
                <a:t>(Sharing)</a:t>
              </a:r>
              <a:endParaRPr lang="zh-CN" altLang="en-US" sz="2400" b="1" dirty="0"/>
            </a:p>
          </p:txBody>
        </p:sp>
        <p:sp>
          <p:nvSpPr>
            <p:cNvPr id="67" name="ïsḻiďê"/>
            <p:cNvSpPr txBox="1"/>
            <p:nvPr/>
          </p:nvSpPr>
          <p:spPr>
            <a:xfrm>
              <a:off x="6255660" y="1491721"/>
              <a:ext cx="235628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r"/>
              <a:r>
                <a:rPr lang="zh-CN" altLang="en-US" sz="2400" b="1" dirty="0">
                  <a:solidFill>
                    <a:srgbClr val="0000FF"/>
                  </a:solidFill>
                </a:rPr>
                <a:t>虚拟</a:t>
              </a:r>
              <a:r>
                <a:rPr lang="en-US" altLang="zh-CN" sz="2400" b="1" dirty="0"/>
                <a:t>(Virtual)</a:t>
              </a:r>
            </a:p>
          </p:txBody>
        </p:sp>
        <p:sp>
          <p:nvSpPr>
            <p:cNvPr id="68" name="isḷiḋé"/>
            <p:cNvSpPr txBox="1"/>
            <p:nvPr/>
          </p:nvSpPr>
          <p:spPr>
            <a:xfrm>
              <a:off x="8833059" y="1260897"/>
              <a:ext cx="3087022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b="1" dirty="0">
                  <a:solidFill>
                    <a:srgbClr val="0000FF"/>
                  </a:solidFill>
                </a:rPr>
                <a:t>异步</a:t>
              </a:r>
              <a:br>
                <a:rPr lang="en-US" altLang="zh-CN" sz="2400" b="1" dirty="0">
                  <a:solidFill>
                    <a:srgbClr val="0000FF"/>
                  </a:solidFill>
                </a:rPr>
              </a:br>
              <a:r>
                <a:rPr lang="en-US" altLang="zh-CN" sz="2400" b="1" dirty="0"/>
                <a:t>(Asynchronism)</a:t>
              </a:r>
            </a:p>
          </p:txBody>
        </p:sp>
        <p:sp>
          <p:nvSpPr>
            <p:cNvPr id="69" name="îṣḻidé"/>
            <p:cNvSpPr txBox="1"/>
            <p:nvPr/>
          </p:nvSpPr>
          <p:spPr>
            <a:xfrm>
              <a:off x="19606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70" name="ïŝ1ïḋè"/>
            <p:cNvSpPr txBox="1"/>
            <p:nvPr/>
          </p:nvSpPr>
          <p:spPr>
            <a:xfrm>
              <a:off x="4741597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71" name="í$lîdé"/>
            <p:cNvSpPr txBox="1"/>
            <p:nvPr/>
          </p:nvSpPr>
          <p:spPr>
            <a:xfrm>
              <a:off x="7522530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72" name="išḻïďè"/>
            <p:cNvSpPr txBox="1"/>
            <p:nvPr/>
          </p:nvSpPr>
          <p:spPr>
            <a:xfrm>
              <a:off x="103034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77" name="isľîdê"/>
            <p:cNvSpPr txBox="1"/>
            <p:nvPr/>
          </p:nvSpPr>
          <p:spPr>
            <a:xfrm>
              <a:off x="3458154" y="4151139"/>
              <a:ext cx="2601746" cy="22705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>
                <a:lnSpc>
                  <a:spcPct val="120000"/>
                </a:lnSpc>
              </a:pPr>
              <a:r>
                <a:rPr lang="zh-CN" altLang="en-US" sz="2000" dirty="0"/>
                <a:t>系统中的资源可供内存中多个并发执行的进程共同使用</a:t>
              </a:r>
              <a:endParaRPr lang="en-US" altLang="zh-CN" sz="2000" dirty="0"/>
            </a:p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000" dirty="0"/>
                <a:t>互斥共享方式（临界资源）</a:t>
              </a:r>
            </a:p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000" dirty="0"/>
                <a:t>同时访问方式</a:t>
              </a:r>
            </a:p>
          </p:txBody>
        </p:sp>
        <p:sp>
          <p:nvSpPr>
            <p:cNvPr id="78" name="isľîdê"/>
            <p:cNvSpPr txBox="1"/>
            <p:nvPr/>
          </p:nvSpPr>
          <p:spPr>
            <a:xfrm>
              <a:off x="6212001" y="4199928"/>
              <a:ext cx="2621058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dirty="0"/>
                <a:t>时分复用技术：虚拟处理机、虚拟设备</a:t>
              </a:r>
            </a:p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dirty="0"/>
                <a:t>空分复用技术：虚拟存储</a:t>
              </a:r>
            </a:p>
          </p:txBody>
        </p:sp>
        <p:sp>
          <p:nvSpPr>
            <p:cNvPr id="79" name="isľîdê"/>
            <p:cNvSpPr txBox="1"/>
            <p:nvPr/>
          </p:nvSpPr>
          <p:spPr>
            <a:xfrm>
              <a:off x="9105653" y="4151140"/>
              <a:ext cx="2565780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000" dirty="0"/>
                <a:t>进程的异步性：进程是以人们不可预知的速度向前推进的</a:t>
              </a:r>
            </a:p>
          </p:txBody>
        </p: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简单结构</a:t>
            </a:r>
          </a:p>
        </p:txBody>
      </p:sp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20" t="757" r="11531" b="757"/>
          <a:stretch>
            <a:fillRect/>
          </a:stretch>
        </p:blipFill>
        <p:spPr bwMode="auto">
          <a:xfrm>
            <a:off x="6471453" y="1133931"/>
            <a:ext cx="5156200" cy="4962525"/>
          </a:xfrm>
          <a:prstGeom prst="rect">
            <a:avLst/>
          </a:prstGeom>
          <a:noFill/>
          <a:ln w="38100" cmpd="dbl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îśḻiďé"/>
          <p:cNvSpPr/>
          <p:nvPr/>
        </p:nvSpPr>
        <p:spPr bwMode="auto">
          <a:xfrm>
            <a:off x="829034" y="1750193"/>
            <a:ext cx="846430" cy="84643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29" name="išľiďe"/>
          <p:cNvSpPr/>
          <p:nvPr/>
        </p:nvSpPr>
        <p:spPr bwMode="auto">
          <a:xfrm>
            <a:off x="829034" y="3191980"/>
            <a:ext cx="847397" cy="84643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32" name="íśľîḋé"/>
          <p:cNvSpPr/>
          <p:nvPr/>
        </p:nvSpPr>
        <p:spPr bwMode="auto">
          <a:xfrm>
            <a:off x="829034" y="4636341"/>
            <a:ext cx="846430" cy="8473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37" name="ïṡḷidè"/>
          <p:cNvSpPr/>
          <p:nvPr/>
        </p:nvSpPr>
        <p:spPr bwMode="auto">
          <a:xfrm>
            <a:off x="1061275" y="3459093"/>
            <a:ext cx="344710" cy="344189"/>
          </a:xfrm>
          <a:custGeom>
            <a:avLst/>
            <a:gdLst>
              <a:gd name="connsiteX0" fmla="*/ 106370 w 607639"/>
              <a:gd name="connsiteY0" fmla="*/ 436610 h 606722"/>
              <a:gd name="connsiteX1" fmla="*/ 61329 w 607639"/>
              <a:gd name="connsiteY1" fmla="*/ 480515 h 606722"/>
              <a:gd name="connsiteX2" fmla="*/ 126397 w 607639"/>
              <a:gd name="connsiteY2" fmla="*/ 545485 h 606722"/>
              <a:gd name="connsiteX3" fmla="*/ 170369 w 607639"/>
              <a:gd name="connsiteY3" fmla="*/ 500513 h 606722"/>
              <a:gd name="connsiteX4" fmla="*/ 455714 w 607639"/>
              <a:gd name="connsiteY4" fmla="*/ 404481 h 606722"/>
              <a:gd name="connsiteX5" fmla="*/ 531614 w 607639"/>
              <a:gd name="connsiteY5" fmla="*/ 404481 h 606722"/>
              <a:gd name="connsiteX6" fmla="*/ 531703 w 607639"/>
              <a:gd name="connsiteY6" fmla="*/ 404481 h 606722"/>
              <a:gd name="connsiteX7" fmla="*/ 531792 w 607639"/>
              <a:gd name="connsiteY7" fmla="*/ 404481 h 606722"/>
              <a:gd name="connsiteX8" fmla="*/ 548075 w 607639"/>
              <a:gd name="connsiteY8" fmla="*/ 410525 h 606722"/>
              <a:gd name="connsiteX9" fmla="*/ 551456 w 607639"/>
              <a:gd name="connsiteY9" fmla="*/ 413991 h 606722"/>
              <a:gd name="connsiteX10" fmla="*/ 556973 w 607639"/>
              <a:gd name="connsiteY10" fmla="*/ 429012 h 606722"/>
              <a:gd name="connsiteX11" fmla="*/ 556973 w 607639"/>
              <a:gd name="connsiteY11" fmla="*/ 429811 h 606722"/>
              <a:gd name="connsiteX12" fmla="*/ 556973 w 607639"/>
              <a:gd name="connsiteY12" fmla="*/ 505625 h 606722"/>
              <a:gd name="connsiteX13" fmla="*/ 531614 w 607639"/>
              <a:gd name="connsiteY13" fmla="*/ 530867 h 606722"/>
              <a:gd name="connsiteX14" fmla="*/ 506343 w 607639"/>
              <a:gd name="connsiteY14" fmla="*/ 505625 h 606722"/>
              <a:gd name="connsiteX15" fmla="*/ 476001 w 607639"/>
              <a:gd name="connsiteY15" fmla="*/ 546065 h 606722"/>
              <a:gd name="connsiteX16" fmla="*/ 455714 w 607639"/>
              <a:gd name="connsiteY16" fmla="*/ 556197 h 606722"/>
              <a:gd name="connsiteX17" fmla="*/ 440498 w 607639"/>
              <a:gd name="connsiteY17" fmla="*/ 551131 h 606722"/>
              <a:gd name="connsiteX18" fmla="*/ 435515 w 607639"/>
              <a:gd name="connsiteY18" fmla="*/ 515757 h 606722"/>
              <a:gd name="connsiteX19" fmla="*/ 481073 w 607639"/>
              <a:gd name="connsiteY19" fmla="*/ 455053 h 606722"/>
              <a:gd name="connsiteX20" fmla="*/ 455714 w 607639"/>
              <a:gd name="connsiteY20" fmla="*/ 455053 h 606722"/>
              <a:gd name="connsiteX21" fmla="*/ 430443 w 607639"/>
              <a:gd name="connsiteY21" fmla="*/ 429811 h 606722"/>
              <a:gd name="connsiteX22" fmla="*/ 455714 w 607639"/>
              <a:gd name="connsiteY22" fmla="*/ 404481 h 606722"/>
              <a:gd name="connsiteX23" fmla="*/ 157786 w 607639"/>
              <a:gd name="connsiteY23" fmla="*/ 282117 h 606722"/>
              <a:gd name="connsiteX24" fmla="*/ 175710 w 607639"/>
              <a:gd name="connsiteY24" fmla="*/ 289516 h 606722"/>
              <a:gd name="connsiteX25" fmla="*/ 317685 w 607639"/>
              <a:gd name="connsiteY25" fmla="*/ 431277 h 606722"/>
              <a:gd name="connsiteX26" fmla="*/ 317685 w 607639"/>
              <a:gd name="connsiteY26" fmla="*/ 467006 h 606722"/>
              <a:gd name="connsiteX27" fmla="*/ 245229 w 607639"/>
              <a:gd name="connsiteY27" fmla="*/ 539441 h 606722"/>
              <a:gd name="connsiteX28" fmla="*/ 227248 w 607639"/>
              <a:gd name="connsiteY28" fmla="*/ 546818 h 606722"/>
              <a:gd name="connsiteX29" fmla="*/ 209357 w 607639"/>
              <a:gd name="connsiteY29" fmla="*/ 539441 h 606722"/>
              <a:gd name="connsiteX30" fmla="*/ 206241 w 607639"/>
              <a:gd name="connsiteY30" fmla="*/ 536242 h 606722"/>
              <a:gd name="connsiteX31" fmla="*/ 144734 w 607639"/>
              <a:gd name="connsiteY31" fmla="*/ 599079 h 606722"/>
              <a:gd name="connsiteX32" fmla="*/ 126753 w 607639"/>
              <a:gd name="connsiteY32" fmla="*/ 606722 h 606722"/>
              <a:gd name="connsiteX33" fmla="*/ 126575 w 607639"/>
              <a:gd name="connsiteY33" fmla="*/ 606722 h 606722"/>
              <a:gd name="connsiteX34" fmla="*/ 108684 w 607639"/>
              <a:gd name="connsiteY34" fmla="*/ 599256 h 606722"/>
              <a:gd name="connsiteX35" fmla="*/ 7388 w 607639"/>
              <a:gd name="connsiteY35" fmla="*/ 498113 h 606722"/>
              <a:gd name="connsiteX36" fmla="*/ 0 w 607639"/>
              <a:gd name="connsiteY36" fmla="*/ 480160 h 606722"/>
              <a:gd name="connsiteX37" fmla="*/ 7655 w 607639"/>
              <a:gd name="connsiteY37" fmla="*/ 462206 h 606722"/>
              <a:gd name="connsiteX38" fmla="*/ 70587 w 607639"/>
              <a:gd name="connsiteY38" fmla="*/ 400792 h 606722"/>
              <a:gd name="connsiteX39" fmla="*/ 67382 w 607639"/>
              <a:gd name="connsiteY39" fmla="*/ 397681 h 606722"/>
              <a:gd name="connsiteX40" fmla="*/ 59994 w 607639"/>
              <a:gd name="connsiteY40" fmla="*/ 379728 h 606722"/>
              <a:gd name="connsiteX41" fmla="*/ 67382 w 607639"/>
              <a:gd name="connsiteY41" fmla="*/ 361863 h 606722"/>
              <a:gd name="connsiteX42" fmla="*/ 139927 w 607639"/>
              <a:gd name="connsiteY42" fmla="*/ 289516 h 606722"/>
              <a:gd name="connsiteX43" fmla="*/ 157786 w 607639"/>
              <a:gd name="connsiteY43" fmla="*/ 282117 h 606722"/>
              <a:gd name="connsiteX44" fmla="*/ 363724 w 607639"/>
              <a:gd name="connsiteY44" fmla="*/ 101159 h 606722"/>
              <a:gd name="connsiteX45" fmla="*/ 353254 w 607639"/>
              <a:gd name="connsiteY45" fmla="*/ 105492 h 606722"/>
              <a:gd name="connsiteX46" fmla="*/ 320945 w 607639"/>
              <a:gd name="connsiteY46" fmla="*/ 137752 h 606722"/>
              <a:gd name="connsiteX47" fmla="*/ 323793 w 607639"/>
              <a:gd name="connsiteY47" fmla="*/ 139974 h 606722"/>
              <a:gd name="connsiteX48" fmla="*/ 335898 w 607639"/>
              <a:gd name="connsiteY48" fmla="*/ 148417 h 606722"/>
              <a:gd name="connsiteX49" fmla="*/ 341149 w 607639"/>
              <a:gd name="connsiteY49" fmla="*/ 151794 h 606722"/>
              <a:gd name="connsiteX50" fmla="*/ 359930 w 607639"/>
              <a:gd name="connsiteY50" fmla="*/ 162459 h 606722"/>
              <a:gd name="connsiteX51" fmla="*/ 408439 w 607639"/>
              <a:gd name="connsiteY51" fmla="*/ 198897 h 606722"/>
              <a:gd name="connsiteX52" fmla="*/ 444933 w 607639"/>
              <a:gd name="connsiteY52" fmla="*/ 247243 h 606722"/>
              <a:gd name="connsiteX53" fmla="*/ 455614 w 607639"/>
              <a:gd name="connsiteY53" fmla="*/ 266084 h 606722"/>
              <a:gd name="connsiteX54" fmla="*/ 458907 w 607639"/>
              <a:gd name="connsiteY54" fmla="*/ 271239 h 606722"/>
              <a:gd name="connsiteX55" fmla="*/ 467452 w 607639"/>
              <a:gd name="connsiteY55" fmla="*/ 283326 h 606722"/>
              <a:gd name="connsiteX56" fmla="*/ 469677 w 607639"/>
              <a:gd name="connsiteY56" fmla="*/ 286258 h 606722"/>
              <a:gd name="connsiteX57" fmla="*/ 501987 w 607639"/>
              <a:gd name="connsiteY57" fmla="*/ 253998 h 606722"/>
              <a:gd name="connsiteX58" fmla="*/ 501987 w 607639"/>
              <a:gd name="connsiteY58" fmla="*/ 233024 h 606722"/>
              <a:gd name="connsiteX59" fmla="*/ 374260 w 607639"/>
              <a:gd name="connsiteY59" fmla="*/ 105492 h 606722"/>
              <a:gd name="connsiteX60" fmla="*/ 363724 w 607639"/>
              <a:gd name="connsiteY60" fmla="*/ 101159 h 606722"/>
              <a:gd name="connsiteX61" fmla="*/ 177209 w 607639"/>
              <a:gd name="connsiteY61" fmla="*/ 50521 h 606722"/>
              <a:gd name="connsiteX62" fmla="*/ 195096 w 607639"/>
              <a:gd name="connsiteY62" fmla="*/ 57919 h 606722"/>
              <a:gd name="connsiteX63" fmla="*/ 195096 w 607639"/>
              <a:gd name="connsiteY63" fmla="*/ 93644 h 606722"/>
              <a:gd name="connsiteX64" fmla="*/ 137075 w 607639"/>
              <a:gd name="connsiteY64" fmla="*/ 151675 h 606722"/>
              <a:gd name="connsiteX65" fmla="*/ 151936 w 607639"/>
              <a:gd name="connsiteY65" fmla="*/ 151675 h 606722"/>
              <a:gd name="connsiteX66" fmla="*/ 177209 w 607639"/>
              <a:gd name="connsiteY66" fmla="*/ 176914 h 606722"/>
              <a:gd name="connsiteX67" fmla="*/ 151936 w 607639"/>
              <a:gd name="connsiteY67" fmla="*/ 202241 h 606722"/>
              <a:gd name="connsiteX68" fmla="*/ 75939 w 607639"/>
              <a:gd name="connsiteY68" fmla="*/ 202241 h 606722"/>
              <a:gd name="connsiteX69" fmla="*/ 59387 w 607639"/>
              <a:gd name="connsiteY69" fmla="*/ 196020 h 606722"/>
              <a:gd name="connsiteX70" fmla="*/ 55916 w 607639"/>
              <a:gd name="connsiteY70" fmla="*/ 192288 h 606722"/>
              <a:gd name="connsiteX71" fmla="*/ 50755 w 607639"/>
              <a:gd name="connsiteY71" fmla="*/ 178691 h 606722"/>
              <a:gd name="connsiteX72" fmla="*/ 50666 w 607639"/>
              <a:gd name="connsiteY72" fmla="*/ 176736 h 606722"/>
              <a:gd name="connsiteX73" fmla="*/ 50666 w 607639"/>
              <a:gd name="connsiteY73" fmla="*/ 101109 h 606722"/>
              <a:gd name="connsiteX74" fmla="*/ 75939 w 607639"/>
              <a:gd name="connsiteY74" fmla="*/ 75782 h 606722"/>
              <a:gd name="connsiteX75" fmla="*/ 101301 w 607639"/>
              <a:gd name="connsiteY75" fmla="*/ 101109 h 606722"/>
              <a:gd name="connsiteX76" fmla="*/ 101301 w 607639"/>
              <a:gd name="connsiteY76" fmla="*/ 115861 h 606722"/>
              <a:gd name="connsiteX77" fmla="*/ 159322 w 607639"/>
              <a:gd name="connsiteY77" fmla="*/ 57919 h 606722"/>
              <a:gd name="connsiteX78" fmla="*/ 177209 w 607639"/>
              <a:gd name="connsiteY78" fmla="*/ 50521 h 606722"/>
              <a:gd name="connsiteX79" fmla="*/ 480892 w 607639"/>
              <a:gd name="connsiteY79" fmla="*/ 0 h 606722"/>
              <a:gd name="connsiteX80" fmla="*/ 498960 w 607639"/>
              <a:gd name="connsiteY80" fmla="*/ 7376 h 606722"/>
              <a:gd name="connsiteX81" fmla="*/ 600162 w 607639"/>
              <a:gd name="connsiteY81" fmla="*/ 108513 h 606722"/>
              <a:gd name="connsiteX82" fmla="*/ 607639 w 607639"/>
              <a:gd name="connsiteY82" fmla="*/ 126554 h 606722"/>
              <a:gd name="connsiteX83" fmla="*/ 599984 w 607639"/>
              <a:gd name="connsiteY83" fmla="*/ 144507 h 606722"/>
              <a:gd name="connsiteX84" fmla="*/ 541417 w 607639"/>
              <a:gd name="connsiteY84" fmla="*/ 201741 h 606722"/>
              <a:gd name="connsiteX85" fmla="*/ 537768 w 607639"/>
              <a:gd name="connsiteY85" fmla="*/ 289724 h 606722"/>
              <a:gd name="connsiteX86" fmla="*/ 486499 w 607639"/>
              <a:gd name="connsiteY86" fmla="*/ 340915 h 606722"/>
              <a:gd name="connsiteX87" fmla="*/ 484719 w 607639"/>
              <a:gd name="connsiteY87" fmla="*/ 342159 h 606722"/>
              <a:gd name="connsiteX88" fmla="*/ 480002 w 607639"/>
              <a:gd name="connsiteY88" fmla="*/ 345270 h 606722"/>
              <a:gd name="connsiteX89" fmla="*/ 476530 w 607639"/>
              <a:gd name="connsiteY89" fmla="*/ 346869 h 606722"/>
              <a:gd name="connsiteX90" fmla="*/ 471190 w 607639"/>
              <a:gd name="connsiteY90" fmla="*/ 347847 h 606722"/>
              <a:gd name="connsiteX91" fmla="*/ 468609 w 607639"/>
              <a:gd name="connsiteY91" fmla="*/ 348380 h 606722"/>
              <a:gd name="connsiteX92" fmla="*/ 467452 w 607639"/>
              <a:gd name="connsiteY92" fmla="*/ 348114 h 606722"/>
              <a:gd name="connsiteX93" fmla="*/ 462111 w 607639"/>
              <a:gd name="connsiteY93" fmla="*/ 347047 h 606722"/>
              <a:gd name="connsiteX94" fmla="*/ 458373 w 607639"/>
              <a:gd name="connsiteY94" fmla="*/ 345981 h 606722"/>
              <a:gd name="connsiteX95" fmla="*/ 457305 w 607639"/>
              <a:gd name="connsiteY95" fmla="*/ 345714 h 606722"/>
              <a:gd name="connsiteX96" fmla="*/ 428911 w 607639"/>
              <a:gd name="connsiteY96" fmla="*/ 331494 h 606722"/>
              <a:gd name="connsiteX97" fmla="*/ 407282 w 607639"/>
              <a:gd name="connsiteY97" fmla="*/ 335049 h 606722"/>
              <a:gd name="connsiteX98" fmla="*/ 376308 w 607639"/>
              <a:gd name="connsiteY98" fmla="*/ 365888 h 606722"/>
              <a:gd name="connsiteX99" fmla="*/ 344265 w 607639"/>
              <a:gd name="connsiteY99" fmla="*/ 379219 h 606722"/>
              <a:gd name="connsiteX100" fmla="*/ 312133 w 607639"/>
              <a:gd name="connsiteY100" fmla="*/ 365888 h 606722"/>
              <a:gd name="connsiteX101" fmla="*/ 241194 w 607639"/>
              <a:gd name="connsiteY101" fmla="*/ 295057 h 606722"/>
              <a:gd name="connsiteX102" fmla="*/ 241194 w 607639"/>
              <a:gd name="connsiteY102" fmla="*/ 230891 h 606722"/>
              <a:gd name="connsiteX103" fmla="*/ 272079 w 607639"/>
              <a:gd name="connsiteY103" fmla="*/ 200052 h 606722"/>
              <a:gd name="connsiteX104" fmla="*/ 275551 w 607639"/>
              <a:gd name="connsiteY104" fmla="*/ 178456 h 606722"/>
              <a:gd name="connsiteX105" fmla="*/ 261398 w 607639"/>
              <a:gd name="connsiteY105" fmla="*/ 150106 h 606722"/>
              <a:gd name="connsiteX106" fmla="*/ 261131 w 607639"/>
              <a:gd name="connsiteY106" fmla="*/ 149039 h 606722"/>
              <a:gd name="connsiteX107" fmla="*/ 260063 w 607639"/>
              <a:gd name="connsiteY107" fmla="*/ 145307 h 606722"/>
              <a:gd name="connsiteX108" fmla="*/ 258995 w 607639"/>
              <a:gd name="connsiteY108" fmla="*/ 139974 h 606722"/>
              <a:gd name="connsiteX109" fmla="*/ 259262 w 607639"/>
              <a:gd name="connsiteY109" fmla="*/ 136242 h 606722"/>
              <a:gd name="connsiteX110" fmla="*/ 260241 w 607639"/>
              <a:gd name="connsiteY110" fmla="*/ 130909 h 606722"/>
              <a:gd name="connsiteX111" fmla="*/ 261754 w 607639"/>
              <a:gd name="connsiteY111" fmla="*/ 127443 h 606722"/>
              <a:gd name="connsiteX112" fmla="*/ 264959 w 607639"/>
              <a:gd name="connsiteY112" fmla="*/ 122733 h 606722"/>
              <a:gd name="connsiteX113" fmla="*/ 266116 w 607639"/>
              <a:gd name="connsiteY113" fmla="*/ 120955 h 606722"/>
              <a:gd name="connsiteX114" fmla="*/ 317384 w 607639"/>
              <a:gd name="connsiteY114" fmla="*/ 69676 h 606722"/>
              <a:gd name="connsiteX115" fmla="*/ 405591 w 607639"/>
              <a:gd name="connsiteY115" fmla="*/ 66121 h 606722"/>
              <a:gd name="connsiteX116" fmla="*/ 462912 w 607639"/>
              <a:gd name="connsiteY116" fmla="*/ 7554 h 606722"/>
              <a:gd name="connsiteX117" fmla="*/ 480892 w 607639"/>
              <a:gd name="connsiteY117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07639" h="606722">
                <a:moveTo>
                  <a:pt x="106370" y="436610"/>
                </a:moveTo>
                <a:lnTo>
                  <a:pt x="61329" y="480515"/>
                </a:lnTo>
                <a:lnTo>
                  <a:pt x="126397" y="545485"/>
                </a:lnTo>
                <a:lnTo>
                  <a:pt x="170369" y="500513"/>
                </a:lnTo>
                <a:close/>
                <a:moveTo>
                  <a:pt x="455714" y="404481"/>
                </a:moveTo>
                <a:lnTo>
                  <a:pt x="531614" y="404481"/>
                </a:lnTo>
                <a:lnTo>
                  <a:pt x="531703" y="404481"/>
                </a:lnTo>
                <a:lnTo>
                  <a:pt x="531792" y="404481"/>
                </a:lnTo>
                <a:cubicBezTo>
                  <a:pt x="538020" y="404481"/>
                  <a:pt x="543715" y="406792"/>
                  <a:pt x="548075" y="410525"/>
                </a:cubicBezTo>
                <a:cubicBezTo>
                  <a:pt x="549321" y="411591"/>
                  <a:pt x="550388" y="412747"/>
                  <a:pt x="551456" y="413991"/>
                </a:cubicBezTo>
                <a:cubicBezTo>
                  <a:pt x="554748" y="418079"/>
                  <a:pt x="556795" y="423323"/>
                  <a:pt x="556973" y="429012"/>
                </a:cubicBezTo>
                <a:cubicBezTo>
                  <a:pt x="556973" y="429278"/>
                  <a:pt x="556973" y="429545"/>
                  <a:pt x="556973" y="429811"/>
                </a:cubicBezTo>
                <a:lnTo>
                  <a:pt x="556973" y="505625"/>
                </a:lnTo>
                <a:cubicBezTo>
                  <a:pt x="556973" y="519579"/>
                  <a:pt x="545673" y="530867"/>
                  <a:pt x="531614" y="530867"/>
                </a:cubicBezTo>
                <a:cubicBezTo>
                  <a:pt x="517644" y="530867"/>
                  <a:pt x="506343" y="519579"/>
                  <a:pt x="506343" y="505625"/>
                </a:cubicBezTo>
                <a:lnTo>
                  <a:pt x="476001" y="546065"/>
                </a:lnTo>
                <a:cubicBezTo>
                  <a:pt x="471018" y="552731"/>
                  <a:pt x="463366" y="556197"/>
                  <a:pt x="455714" y="556197"/>
                </a:cubicBezTo>
                <a:cubicBezTo>
                  <a:pt x="450375" y="556197"/>
                  <a:pt x="445125" y="554508"/>
                  <a:pt x="440498" y="551131"/>
                </a:cubicBezTo>
                <a:cubicBezTo>
                  <a:pt x="429375" y="542776"/>
                  <a:pt x="427062" y="526867"/>
                  <a:pt x="435515" y="515757"/>
                </a:cubicBezTo>
                <a:lnTo>
                  <a:pt x="481073" y="455053"/>
                </a:lnTo>
                <a:lnTo>
                  <a:pt x="455714" y="455053"/>
                </a:lnTo>
                <a:cubicBezTo>
                  <a:pt x="441744" y="455053"/>
                  <a:pt x="430443" y="443765"/>
                  <a:pt x="430443" y="429811"/>
                </a:cubicBezTo>
                <a:cubicBezTo>
                  <a:pt x="430443" y="415857"/>
                  <a:pt x="441744" y="404481"/>
                  <a:pt x="455714" y="404481"/>
                </a:cubicBezTo>
                <a:close/>
                <a:moveTo>
                  <a:pt x="157786" y="282117"/>
                </a:moveTo>
                <a:cubicBezTo>
                  <a:pt x="164272" y="282117"/>
                  <a:pt x="170770" y="284584"/>
                  <a:pt x="175710" y="289516"/>
                </a:cubicBezTo>
                <a:lnTo>
                  <a:pt x="317685" y="431277"/>
                </a:lnTo>
                <a:cubicBezTo>
                  <a:pt x="327565" y="441142"/>
                  <a:pt x="327565" y="457140"/>
                  <a:pt x="317685" y="467006"/>
                </a:cubicBezTo>
                <a:lnTo>
                  <a:pt x="245229" y="539441"/>
                </a:lnTo>
                <a:cubicBezTo>
                  <a:pt x="240422" y="544152"/>
                  <a:pt x="234013" y="546818"/>
                  <a:pt x="227248" y="546818"/>
                </a:cubicBezTo>
                <a:cubicBezTo>
                  <a:pt x="220572" y="546818"/>
                  <a:pt x="214163" y="544152"/>
                  <a:pt x="209357" y="539441"/>
                </a:cubicBezTo>
                <a:lnTo>
                  <a:pt x="206241" y="536242"/>
                </a:lnTo>
                <a:lnTo>
                  <a:pt x="144734" y="599079"/>
                </a:lnTo>
                <a:cubicBezTo>
                  <a:pt x="140016" y="603967"/>
                  <a:pt x="133518" y="606633"/>
                  <a:pt x="126753" y="606722"/>
                </a:cubicBezTo>
                <a:lnTo>
                  <a:pt x="126575" y="606722"/>
                </a:lnTo>
                <a:cubicBezTo>
                  <a:pt x="119899" y="606722"/>
                  <a:pt x="113491" y="604056"/>
                  <a:pt x="108684" y="599256"/>
                </a:cubicBezTo>
                <a:lnTo>
                  <a:pt x="7388" y="498113"/>
                </a:lnTo>
                <a:cubicBezTo>
                  <a:pt x="2670" y="493403"/>
                  <a:pt x="0" y="486914"/>
                  <a:pt x="0" y="480160"/>
                </a:cubicBezTo>
                <a:cubicBezTo>
                  <a:pt x="89" y="473405"/>
                  <a:pt x="2759" y="466917"/>
                  <a:pt x="7655" y="462206"/>
                </a:cubicBezTo>
                <a:lnTo>
                  <a:pt x="70587" y="400792"/>
                </a:lnTo>
                <a:lnTo>
                  <a:pt x="67382" y="397681"/>
                </a:lnTo>
                <a:cubicBezTo>
                  <a:pt x="62665" y="392882"/>
                  <a:pt x="59994" y="386482"/>
                  <a:pt x="59994" y="379728"/>
                </a:cubicBezTo>
                <a:cubicBezTo>
                  <a:pt x="59994" y="373062"/>
                  <a:pt x="62665" y="366663"/>
                  <a:pt x="67382" y="361863"/>
                </a:cubicBezTo>
                <a:lnTo>
                  <a:pt x="139927" y="289516"/>
                </a:lnTo>
                <a:cubicBezTo>
                  <a:pt x="144823" y="284584"/>
                  <a:pt x="151299" y="282117"/>
                  <a:pt x="157786" y="282117"/>
                </a:cubicBezTo>
                <a:close/>
                <a:moveTo>
                  <a:pt x="363724" y="101159"/>
                </a:moveTo>
                <a:cubicBezTo>
                  <a:pt x="359930" y="101159"/>
                  <a:pt x="356147" y="102604"/>
                  <a:pt x="353254" y="105492"/>
                </a:cubicBezTo>
                <a:lnTo>
                  <a:pt x="320945" y="137752"/>
                </a:lnTo>
                <a:cubicBezTo>
                  <a:pt x="321835" y="138463"/>
                  <a:pt x="322814" y="139174"/>
                  <a:pt x="323793" y="139974"/>
                </a:cubicBezTo>
                <a:cubicBezTo>
                  <a:pt x="327709" y="142818"/>
                  <a:pt x="331715" y="145662"/>
                  <a:pt x="335898" y="148417"/>
                </a:cubicBezTo>
                <a:cubicBezTo>
                  <a:pt x="337678" y="149572"/>
                  <a:pt x="339369" y="150728"/>
                  <a:pt x="341149" y="151794"/>
                </a:cubicBezTo>
                <a:cubicBezTo>
                  <a:pt x="347113" y="155527"/>
                  <a:pt x="353254" y="159082"/>
                  <a:pt x="359930" y="162459"/>
                </a:cubicBezTo>
                <a:cubicBezTo>
                  <a:pt x="376040" y="170724"/>
                  <a:pt x="392863" y="183344"/>
                  <a:pt x="408439" y="198897"/>
                </a:cubicBezTo>
                <a:cubicBezTo>
                  <a:pt x="424016" y="214449"/>
                  <a:pt x="436655" y="231246"/>
                  <a:pt x="444933" y="247243"/>
                </a:cubicBezTo>
                <a:cubicBezTo>
                  <a:pt x="448315" y="253998"/>
                  <a:pt x="451875" y="260130"/>
                  <a:pt x="455614" y="266084"/>
                </a:cubicBezTo>
                <a:cubicBezTo>
                  <a:pt x="456682" y="267862"/>
                  <a:pt x="457839" y="269550"/>
                  <a:pt x="458907" y="271239"/>
                </a:cubicBezTo>
                <a:cubicBezTo>
                  <a:pt x="461666" y="275416"/>
                  <a:pt x="464514" y="279504"/>
                  <a:pt x="467452" y="283326"/>
                </a:cubicBezTo>
                <a:cubicBezTo>
                  <a:pt x="468164" y="284303"/>
                  <a:pt x="468876" y="285281"/>
                  <a:pt x="469677" y="286258"/>
                </a:cubicBezTo>
                <a:lnTo>
                  <a:pt x="501987" y="253998"/>
                </a:lnTo>
                <a:cubicBezTo>
                  <a:pt x="507772" y="248221"/>
                  <a:pt x="507772" y="238800"/>
                  <a:pt x="501987" y="233024"/>
                </a:cubicBezTo>
                <a:lnTo>
                  <a:pt x="374260" y="105492"/>
                </a:lnTo>
                <a:cubicBezTo>
                  <a:pt x="371323" y="102604"/>
                  <a:pt x="367518" y="101159"/>
                  <a:pt x="363724" y="101159"/>
                </a:cubicBezTo>
                <a:close/>
                <a:moveTo>
                  <a:pt x="177209" y="50521"/>
                </a:moveTo>
                <a:cubicBezTo>
                  <a:pt x="183683" y="50521"/>
                  <a:pt x="190157" y="52987"/>
                  <a:pt x="195096" y="57919"/>
                </a:cubicBezTo>
                <a:cubicBezTo>
                  <a:pt x="205063" y="67784"/>
                  <a:pt x="205063" y="83869"/>
                  <a:pt x="195096" y="93644"/>
                </a:cubicBezTo>
                <a:lnTo>
                  <a:pt x="137075" y="151675"/>
                </a:lnTo>
                <a:lnTo>
                  <a:pt x="151936" y="151675"/>
                </a:lnTo>
                <a:cubicBezTo>
                  <a:pt x="165908" y="151675"/>
                  <a:pt x="177209" y="162961"/>
                  <a:pt x="177209" y="176914"/>
                </a:cubicBezTo>
                <a:cubicBezTo>
                  <a:pt x="177209" y="190866"/>
                  <a:pt x="165908" y="202241"/>
                  <a:pt x="151936" y="202241"/>
                </a:cubicBezTo>
                <a:lnTo>
                  <a:pt x="75939" y="202241"/>
                </a:lnTo>
                <a:cubicBezTo>
                  <a:pt x="69621" y="202241"/>
                  <a:pt x="63836" y="199842"/>
                  <a:pt x="59387" y="196020"/>
                </a:cubicBezTo>
                <a:cubicBezTo>
                  <a:pt x="58141" y="194954"/>
                  <a:pt x="56984" y="193710"/>
                  <a:pt x="55916" y="192288"/>
                </a:cubicBezTo>
                <a:cubicBezTo>
                  <a:pt x="52980" y="188466"/>
                  <a:pt x="51111" y="183845"/>
                  <a:pt x="50755" y="178691"/>
                </a:cubicBezTo>
                <a:cubicBezTo>
                  <a:pt x="50666" y="178069"/>
                  <a:pt x="50666" y="177447"/>
                  <a:pt x="50666" y="176736"/>
                </a:cubicBezTo>
                <a:lnTo>
                  <a:pt x="50666" y="101109"/>
                </a:lnTo>
                <a:cubicBezTo>
                  <a:pt x="50666" y="87157"/>
                  <a:pt x="61968" y="75782"/>
                  <a:pt x="75939" y="75782"/>
                </a:cubicBezTo>
                <a:cubicBezTo>
                  <a:pt x="89910" y="75782"/>
                  <a:pt x="101301" y="87157"/>
                  <a:pt x="101301" y="101109"/>
                </a:cubicBezTo>
                <a:lnTo>
                  <a:pt x="101301" y="115861"/>
                </a:lnTo>
                <a:lnTo>
                  <a:pt x="159322" y="57919"/>
                </a:lnTo>
                <a:cubicBezTo>
                  <a:pt x="164261" y="52987"/>
                  <a:pt x="170735" y="50521"/>
                  <a:pt x="177209" y="50521"/>
                </a:cubicBezTo>
                <a:close/>
                <a:moveTo>
                  <a:pt x="480892" y="0"/>
                </a:moveTo>
                <a:cubicBezTo>
                  <a:pt x="487122" y="0"/>
                  <a:pt x="494154" y="2666"/>
                  <a:pt x="498960" y="7376"/>
                </a:cubicBezTo>
                <a:lnTo>
                  <a:pt x="600162" y="108513"/>
                </a:lnTo>
                <a:cubicBezTo>
                  <a:pt x="604969" y="113312"/>
                  <a:pt x="607639" y="119800"/>
                  <a:pt x="607639" y="126554"/>
                </a:cubicBezTo>
                <a:cubicBezTo>
                  <a:pt x="607550" y="133309"/>
                  <a:pt x="604880" y="139708"/>
                  <a:pt x="599984" y="144507"/>
                </a:cubicBezTo>
                <a:lnTo>
                  <a:pt x="541417" y="201741"/>
                </a:lnTo>
                <a:cubicBezTo>
                  <a:pt x="562957" y="227425"/>
                  <a:pt x="561978" y="265640"/>
                  <a:pt x="537768" y="289724"/>
                </a:cubicBezTo>
                <a:lnTo>
                  <a:pt x="486499" y="340915"/>
                </a:lnTo>
                <a:cubicBezTo>
                  <a:pt x="485965" y="341537"/>
                  <a:pt x="485342" y="341715"/>
                  <a:pt x="484719" y="342159"/>
                </a:cubicBezTo>
                <a:cubicBezTo>
                  <a:pt x="483206" y="343403"/>
                  <a:pt x="481693" y="344470"/>
                  <a:pt x="480002" y="345270"/>
                </a:cubicBezTo>
                <a:cubicBezTo>
                  <a:pt x="478845" y="345892"/>
                  <a:pt x="477688" y="346425"/>
                  <a:pt x="476530" y="346869"/>
                </a:cubicBezTo>
                <a:cubicBezTo>
                  <a:pt x="474750" y="347403"/>
                  <a:pt x="472970" y="347669"/>
                  <a:pt x="471190" y="347847"/>
                </a:cubicBezTo>
                <a:cubicBezTo>
                  <a:pt x="470300" y="347936"/>
                  <a:pt x="469499" y="348380"/>
                  <a:pt x="468609" y="348380"/>
                </a:cubicBezTo>
                <a:cubicBezTo>
                  <a:pt x="468253" y="348380"/>
                  <a:pt x="467808" y="348114"/>
                  <a:pt x="467452" y="348114"/>
                </a:cubicBezTo>
                <a:cubicBezTo>
                  <a:pt x="465582" y="348025"/>
                  <a:pt x="463891" y="347580"/>
                  <a:pt x="462111" y="347047"/>
                </a:cubicBezTo>
                <a:cubicBezTo>
                  <a:pt x="460776" y="346692"/>
                  <a:pt x="459530" y="346514"/>
                  <a:pt x="458373" y="345981"/>
                </a:cubicBezTo>
                <a:cubicBezTo>
                  <a:pt x="458017" y="345892"/>
                  <a:pt x="457661" y="345892"/>
                  <a:pt x="457305" y="345714"/>
                </a:cubicBezTo>
                <a:lnTo>
                  <a:pt x="428911" y="331494"/>
                </a:lnTo>
                <a:cubicBezTo>
                  <a:pt x="421702" y="327940"/>
                  <a:pt x="412979" y="329273"/>
                  <a:pt x="407282" y="335049"/>
                </a:cubicBezTo>
                <a:lnTo>
                  <a:pt x="376308" y="365888"/>
                </a:lnTo>
                <a:cubicBezTo>
                  <a:pt x="367763" y="374509"/>
                  <a:pt x="356370" y="379219"/>
                  <a:pt x="344265" y="379219"/>
                </a:cubicBezTo>
                <a:cubicBezTo>
                  <a:pt x="332160" y="379219"/>
                  <a:pt x="320678" y="374509"/>
                  <a:pt x="312133" y="365888"/>
                </a:cubicBezTo>
                <a:lnTo>
                  <a:pt x="241194" y="295057"/>
                </a:lnTo>
                <a:cubicBezTo>
                  <a:pt x="223481" y="277371"/>
                  <a:pt x="223481" y="248576"/>
                  <a:pt x="241194" y="230891"/>
                </a:cubicBezTo>
                <a:lnTo>
                  <a:pt x="272079" y="200052"/>
                </a:lnTo>
                <a:cubicBezTo>
                  <a:pt x="277776" y="194364"/>
                  <a:pt x="279200" y="185655"/>
                  <a:pt x="275551" y="178456"/>
                </a:cubicBezTo>
                <a:lnTo>
                  <a:pt x="261398" y="150106"/>
                </a:lnTo>
                <a:cubicBezTo>
                  <a:pt x="261220" y="149750"/>
                  <a:pt x="261220" y="149395"/>
                  <a:pt x="261131" y="149039"/>
                </a:cubicBezTo>
                <a:cubicBezTo>
                  <a:pt x="260508" y="147884"/>
                  <a:pt x="260330" y="146640"/>
                  <a:pt x="260063" y="145307"/>
                </a:cubicBezTo>
                <a:cubicBezTo>
                  <a:pt x="259529" y="143529"/>
                  <a:pt x="259084" y="141841"/>
                  <a:pt x="258995" y="139974"/>
                </a:cubicBezTo>
                <a:cubicBezTo>
                  <a:pt x="258906" y="138730"/>
                  <a:pt x="259084" y="137486"/>
                  <a:pt x="259262" y="136242"/>
                </a:cubicBezTo>
                <a:cubicBezTo>
                  <a:pt x="259440" y="134375"/>
                  <a:pt x="259707" y="132687"/>
                  <a:pt x="260241" y="130909"/>
                </a:cubicBezTo>
                <a:cubicBezTo>
                  <a:pt x="260686" y="129754"/>
                  <a:pt x="261220" y="128599"/>
                  <a:pt x="261754" y="127443"/>
                </a:cubicBezTo>
                <a:cubicBezTo>
                  <a:pt x="262644" y="125755"/>
                  <a:pt x="263713" y="124155"/>
                  <a:pt x="264959" y="122733"/>
                </a:cubicBezTo>
                <a:cubicBezTo>
                  <a:pt x="265404" y="122111"/>
                  <a:pt x="265582" y="121400"/>
                  <a:pt x="266116" y="120955"/>
                </a:cubicBezTo>
                <a:lnTo>
                  <a:pt x="317384" y="69676"/>
                </a:lnTo>
                <a:cubicBezTo>
                  <a:pt x="341505" y="45592"/>
                  <a:pt x="379868" y="44525"/>
                  <a:pt x="405591" y="66121"/>
                </a:cubicBezTo>
                <a:lnTo>
                  <a:pt x="462912" y="7554"/>
                </a:lnTo>
                <a:cubicBezTo>
                  <a:pt x="467719" y="2755"/>
                  <a:pt x="474127" y="89"/>
                  <a:pt x="48089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38" name="iṡļîḍé"/>
          <p:cNvSpPr/>
          <p:nvPr/>
        </p:nvSpPr>
        <p:spPr bwMode="auto">
          <a:xfrm>
            <a:off x="1061275" y="4887944"/>
            <a:ext cx="344710" cy="344189"/>
          </a:xfrm>
          <a:custGeom>
            <a:avLst/>
            <a:gdLst>
              <a:gd name="connsiteX0" fmla="*/ 257564 w 607639"/>
              <a:gd name="connsiteY0" fmla="*/ 92370 h 606722"/>
              <a:gd name="connsiteX1" fmla="*/ 277411 w 607639"/>
              <a:gd name="connsiteY1" fmla="*/ 112098 h 606722"/>
              <a:gd name="connsiteX2" fmla="*/ 277411 w 607639"/>
              <a:gd name="connsiteY2" fmla="*/ 329729 h 606722"/>
              <a:gd name="connsiteX3" fmla="*/ 495281 w 607639"/>
              <a:gd name="connsiteY3" fmla="*/ 329729 h 606722"/>
              <a:gd name="connsiteX4" fmla="*/ 515128 w 607639"/>
              <a:gd name="connsiteY4" fmla="*/ 349546 h 606722"/>
              <a:gd name="connsiteX5" fmla="*/ 257564 w 607639"/>
              <a:gd name="connsiteY5" fmla="*/ 606722 h 606722"/>
              <a:gd name="connsiteX6" fmla="*/ 0 w 607639"/>
              <a:gd name="connsiteY6" fmla="*/ 349546 h 606722"/>
              <a:gd name="connsiteX7" fmla="*/ 257564 w 607639"/>
              <a:gd name="connsiteY7" fmla="*/ 92370 h 606722"/>
              <a:gd name="connsiteX8" fmla="*/ 350027 w 607639"/>
              <a:gd name="connsiteY8" fmla="*/ 0 h 606722"/>
              <a:gd name="connsiteX9" fmla="*/ 607639 w 607639"/>
              <a:gd name="connsiteY9" fmla="*/ 257220 h 606722"/>
              <a:gd name="connsiteX10" fmla="*/ 587788 w 607639"/>
              <a:gd name="connsiteY10" fmla="*/ 277040 h 606722"/>
              <a:gd name="connsiteX11" fmla="*/ 350027 w 607639"/>
              <a:gd name="connsiteY11" fmla="*/ 277040 h 606722"/>
              <a:gd name="connsiteX12" fmla="*/ 330176 w 607639"/>
              <a:gd name="connsiteY12" fmla="*/ 257220 h 606722"/>
              <a:gd name="connsiteX13" fmla="*/ 330176 w 607639"/>
              <a:gd name="connsiteY13" fmla="*/ 19820 h 606722"/>
              <a:gd name="connsiteX14" fmla="*/ 350027 w 607639"/>
              <a:gd name="connsiteY14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7639" h="606722">
                <a:moveTo>
                  <a:pt x="257564" y="92370"/>
                </a:moveTo>
                <a:cubicBezTo>
                  <a:pt x="268511" y="92370"/>
                  <a:pt x="277411" y="101168"/>
                  <a:pt x="277411" y="112098"/>
                </a:cubicBezTo>
                <a:lnTo>
                  <a:pt x="277411" y="329729"/>
                </a:lnTo>
                <a:lnTo>
                  <a:pt x="495281" y="329729"/>
                </a:lnTo>
                <a:cubicBezTo>
                  <a:pt x="506228" y="329729"/>
                  <a:pt x="515128" y="338616"/>
                  <a:pt x="515128" y="349546"/>
                </a:cubicBezTo>
                <a:cubicBezTo>
                  <a:pt x="515128" y="491286"/>
                  <a:pt x="399607" y="606722"/>
                  <a:pt x="257564" y="606722"/>
                </a:cubicBezTo>
                <a:cubicBezTo>
                  <a:pt x="115521" y="606722"/>
                  <a:pt x="0" y="491286"/>
                  <a:pt x="0" y="349546"/>
                </a:cubicBezTo>
                <a:cubicBezTo>
                  <a:pt x="0" y="207717"/>
                  <a:pt x="115521" y="92370"/>
                  <a:pt x="257564" y="92370"/>
                </a:cubicBezTo>
                <a:close/>
                <a:moveTo>
                  <a:pt x="350027" y="0"/>
                </a:moveTo>
                <a:cubicBezTo>
                  <a:pt x="492007" y="0"/>
                  <a:pt x="607639" y="115367"/>
                  <a:pt x="607639" y="257220"/>
                </a:cubicBezTo>
                <a:cubicBezTo>
                  <a:pt x="607639" y="268152"/>
                  <a:pt x="598737" y="277040"/>
                  <a:pt x="587788" y="277040"/>
                </a:cubicBezTo>
                <a:lnTo>
                  <a:pt x="350027" y="277040"/>
                </a:lnTo>
                <a:cubicBezTo>
                  <a:pt x="339078" y="277040"/>
                  <a:pt x="330176" y="268152"/>
                  <a:pt x="330176" y="257220"/>
                </a:cubicBezTo>
                <a:lnTo>
                  <a:pt x="330176" y="19820"/>
                </a:lnTo>
                <a:cubicBezTo>
                  <a:pt x="330176" y="8888"/>
                  <a:pt x="339078" y="0"/>
                  <a:pt x="35002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39" name="ïslíḓé"/>
          <p:cNvSpPr/>
          <p:nvPr/>
        </p:nvSpPr>
        <p:spPr bwMode="auto">
          <a:xfrm>
            <a:off x="1099508" y="2003577"/>
            <a:ext cx="343455" cy="339662"/>
          </a:xfrm>
          <a:custGeom>
            <a:avLst/>
            <a:gdLst>
              <a:gd name="connsiteX0" fmla="*/ 466437 w 600511"/>
              <a:gd name="connsiteY0" fmla="*/ 421770 h 593879"/>
              <a:gd name="connsiteX1" fmla="*/ 504684 w 600511"/>
              <a:gd name="connsiteY1" fmla="*/ 459981 h 593879"/>
              <a:gd name="connsiteX2" fmla="*/ 466437 w 600511"/>
              <a:gd name="connsiteY2" fmla="*/ 498192 h 593879"/>
              <a:gd name="connsiteX3" fmla="*/ 428190 w 600511"/>
              <a:gd name="connsiteY3" fmla="*/ 459981 h 593879"/>
              <a:gd name="connsiteX4" fmla="*/ 466437 w 600511"/>
              <a:gd name="connsiteY4" fmla="*/ 421770 h 593879"/>
              <a:gd name="connsiteX5" fmla="*/ 453390 w 600511"/>
              <a:gd name="connsiteY5" fmla="*/ 375066 h 593879"/>
              <a:gd name="connsiteX6" fmla="*/ 421127 w 600511"/>
              <a:gd name="connsiteY6" fmla="*/ 386990 h 593879"/>
              <a:gd name="connsiteX7" fmla="*/ 418868 w 600511"/>
              <a:gd name="connsiteY7" fmla="*/ 392146 h 593879"/>
              <a:gd name="connsiteX8" fmla="*/ 424031 w 600511"/>
              <a:gd name="connsiteY8" fmla="*/ 406325 h 593879"/>
              <a:gd name="connsiteX9" fmla="*/ 423385 w 600511"/>
              <a:gd name="connsiteY9" fmla="*/ 411481 h 593879"/>
              <a:gd name="connsiteX10" fmla="*/ 416287 w 600511"/>
              <a:gd name="connsiteY10" fmla="*/ 413737 h 593879"/>
              <a:gd name="connsiteX11" fmla="*/ 402414 w 600511"/>
              <a:gd name="connsiteY11" fmla="*/ 407292 h 593879"/>
              <a:gd name="connsiteX12" fmla="*/ 397252 w 600511"/>
              <a:gd name="connsiteY12" fmla="*/ 409226 h 593879"/>
              <a:gd name="connsiteX13" fmla="*/ 383056 w 600511"/>
              <a:gd name="connsiteY13" fmla="*/ 440485 h 593879"/>
              <a:gd name="connsiteX14" fmla="*/ 384669 w 600511"/>
              <a:gd name="connsiteY14" fmla="*/ 445318 h 593879"/>
              <a:gd name="connsiteX15" fmla="*/ 398542 w 600511"/>
              <a:gd name="connsiteY15" fmla="*/ 451764 h 593879"/>
              <a:gd name="connsiteX16" fmla="*/ 401769 w 600511"/>
              <a:gd name="connsiteY16" fmla="*/ 455953 h 593879"/>
              <a:gd name="connsiteX17" fmla="*/ 398220 w 600511"/>
              <a:gd name="connsiteY17" fmla="*/ 462720 h 593879"/>
              <a:gd name="connsiteX18" fmla="*/ 384024 w 600511"/>
              <a:gd name="connsiteY18" fmla="*/ 467876 h 593879"/>
              <a:gd name="connsiteX19" fmla="*/ 381766 w 600511"/>
              <a:gd name="connsiteY19" fmla="*/ 472710 h 593879"/>
              <a:gd name="connsiteX20" fmla="*/ 393380 w 600511"/>
              <a:gd name="connsiteY20" fmla="*/ 504936 h 593879"/>
              <a:gd name="connsiteX21" fmla="*/ 398542 w 600511"/>
              <a:gd name="connsiteY21" fmla="*/ 507192 h 593879"/>
              <a:gd name="connsiteX22" fmla="*/ 412738 w 600511"/>
              <a:gd name="connsiteY22" fmla="*/ 502036 h 593879"/>
              <a:gd name="connsiteX23" fmla="*/ 417900 w 600511"/>
              <a:gd name="connsiteY23" fmla="*/ 502680 h 593879"/>
              <a:gd name="connsiteX24" fmla="*/ 420159 w 600511"/>
              <a:gd name="connsiteY24" fmla="*/ 510092 h 593879"/>
              <a:gd name="connsiteX25" fmla="*/ 413706 w 600511"/>
              <a:gd name="connsiteY25" fmla="*/ 523949 h 593879"/>
              <a:gd name="connsiteX26" fmla="*/ 415642 w 600511"/>
              <a:gd name="connsiteY26" fmla="*/ 528783 h 593879"/>
              <a:gd name="connsiteX27" fmla="*/ 446937 w 600511"/>
              <a:gd name="connsiteY27" fmla="*/ 543285 h 593879"/>
              <a:gd name="connsiteX28" fmla="*/ 451777 w 600511"/>
              <a:gd name="connsiteY28" fmla="*/ 541351 h 593879"/>
              <a:gd name="connsiteX29" fmla="*/ 458230 w 600511"/>
              <a:gd name="connsiteY29" fmla="*/ 527494 h 593879"/>
              <a:gd name="connsiteX30" fmla="*/ 462424 w 600511"/>
              <a:gd name="connsiteY30" fmla="*/ 524272 h 593879"/>
              <a:gd name="connsiteX31" fmla="*/ 469199 w 600511"/>
              <a:gd name="connsiteY31" fmla="*/ 528139 h 593879"/>
              <a:gd name="connsiteX32" fmla="*/ 474361 w 600511"/>
              <a:gd name="connsiteY32" fmla="*/ 542318 h 593879"/>
              <a:gd name="connsiteX33" fmla="*/ 479201 w 600511"/>
              <a:gd name="connsiteY33" fmla="*/ 544574 h 593879"/>
              <a:gd name="connsiteX34" fmla="*/ 511464 w 600511"/>
              <a:gd name="connsiteY34" fmla="*/ 532650 h 593879"/>
              <a:gd name="connsiteX35" fmla="*/ 513723 w 600511"/>
              <a:gd name="connsiteY35" fmla="*/ 527816 h 593879"/>
              <a:gd name="connsiteX36" fmla="*/ 508560 w 600511"/>
              <a:gd name="connsiteY36" fmla="*/ 513315 h 593879"/>
              <a:gd name="connsiteX37" fmla="*/ 509206 w 600511"/>
              <a:gd name="connsiteY37" fmla="*/ 508159 h 593879"/>
              <a:gd name="connsiteX38" fmla="*/ 516626 w 600511"/>
              <a:gd name="connsiteY38" fmla="*/ 506225 h 593879"/>
              <a:gd name="connsiteX39" fmla="*/ 530500 w 600511"/>
              <a:gd name="connsiteY39" fmla="*/ 512348 h 593879"/>
              <a:gd name="connsiteX40" fmla="*/ 535339 w 600511"/>
              <a:gd name="connsiteY40" fmla="*/ 510737 h 593879"/>
              <a:gd name="connsiteX41" fmla="*/ 549858 w 600511"/>
              <a:gd name="connsiteY41" fmla="*/ 479478 h 593879"/>
              <a:gd name="connsiteX42" fmla="*/ 547922 w 600511"/>
              <a:gd name="connsiteY42" fmla="*/ 474322 h 593879"/>
              <a:gd name="connsiteX43" fmla="*/ 534049 w 600511"/>
              <a:gd name="connsiteY43" fmla="*/ 467876 h 593879"/>
              <a:gd name="connsiteX44" fmla="*/ 531145 w 600511"/>
              <a:gd name="connsiteY44" fmla="*/ 461109 h 593879"/>
              <a:gd name="connsiteX45" fmla="*/ 534694 w 600511"/>
              <a:gd name="connsiteY45" fmla="*/ 457242 h 593879"/>
              <a:gd name="connsiteX46" fmla="*/ 548890 w 600511"/>
              <a:gd name="connsiteY46" fmla="*/ 451764 h 593879"/>
              <a:gd name="connsiteX47" fmla="*/ 551148 w 600511"/>
              <a:gd name="connsiteY47" fmla="*/ 446930 h 593879"/>
              <a:gd name="connsiteX48" fmla="*/ 539211 w 600511"/>
              <a:gd name="connsiteY48" fmla="*/ 414704 h 593879"/>
              <a:gd name="connsiteX49" fmla="*/ 534371 w 600511"/>
              <a:gd name="connsiteY49" fmla="*/ 412448 h 593879"/>
              <a:gd name="connsiteX50" fmla="*/ 520175 w 600511"/>
              <a:gd name="connsiteY50" fmla="*/ 417604 h 593879"/>
              <a:gd name="connsiteX51" fmla="*/ 514691 w 600511"/>
              <a:gd name="connsiteY51" fmla="*/ 416960 h 593879"/>
              <a:gd name="connsiteX52" fmla="*/ 512755 w 600511"/>
              <a:gd name="connsiteY52" fmla="*/ 409548 h 593879"/>
              <a:gd name="connsiteX53" fmla="*/ 518885 w 600511"/>
              <a:gd name="connsiteY53" fmla="*/ 396013 h 593879"/>
              <a:gd name="connsiteX54" fmla="*/ 516949 w 600511"/>
              <a:gd name="connsiteY54" fmla="*/ 390857 h 593879"/>
              <a:gd name="connsiteX55" fmla="*/ 485976 w 600511"/>
              <a:gd name="connsiteY55" fmla="*/ 376355 h 593879"/>
              <a:gd name="connsiteX56" fmla="*/ 480814 w 600511"/>
              <a:gd name="connsiteY56" fmla="*/ 378289 h 593879"/>
              <a:gd name="connsiteX57" fmla="*/ 474361 w 600511"/>
              <a:gd name="connsiteY57" fmla="*/ 392146 h 593879"/>
              <a:gd name="connsiteX58" fmla="*/ 470167 w 600511"/>
              <a:gd name="connsiteY58" fmla="*/ 395368 h 593879"/>
              <a:gd name="connsiteX59" fmla="*/ 463714 w 600511"/>
              <a:gd name="connsiteY59" fmla="*/ 391824 h 593879"/>
              <a:gd name="connsiteX60" fmla="*/ 458230 w 600511"/>
              <a:gd name="connsiteY60" fmla="*/ 377322 h 593879"/>
              <a:gd name="connsiteX61" fmla="*/ 453390 w 600511"/>
              <a:gd name="connsiteY61" fmla="*/ 375066 h 593879"/>
              <a:gd name="connsiteX62" fmla="*/ 0 w 600511"/>
              <a:gd name="connsiteY62" fmla="*/ 372515 h 593879"/>
              <a:gd name="connsiteX63" fmla="*/ 233292 w 600511"/>
              <a:gd name="connsiteY63" fmla="*/ 465626 h 593879"/>
              <a:gd name="connsiteX64" fmla="*/ 305248 w 600511"/>
              <a:gd name="connsiteY64" fmla="*/ 461116 h 593879"/>
              <a:gd name="connsiteX65" fmla="*/ 332998 w 600511"/>
              <a:gd name="connsiteY65" fmla="*/ 549716 h 593879"/>
              <a:gd name="connsiteX66" fmla="*/ 233292 w 600511"/>
              <a:gd name="connsiteY66" fmla="*/ 558737 h 593879"/>
              <a:gd name="connsiteX67" fmla="*/ 0 w 600511"/>
              <a:gd name="connsiteY67" fmla="*/ 465626 h 593879"/>
              <a:gd name="connsiteX68" fmla="*/ 466295 w 600511"/>
              <a:gd name="connsiteY68" fmla="*/ 326083 h 593879"/>
              <a:gd name="connsiteX69" fmla="*/ 600511 w 600511"/>
              <a:gd name="connsiteY69" fmla="*/ 459820 h 593879"/>
              <a:gd name="connsiteX70" fmla="*/ 466295 w 600511"/>
              <a:gd name="connsiteY70" fmla="*/ 593879 h 593879"/>
              <a:gd name="connsiteX71" fmla="*/ 332080 w 600511"/>
              <a:gd name="connsiteY71" fmla="*/ 459820 h 593879"/>
              <a:gd name="connsiteX72" fmla="*/ 466295 w 600511"/>
              <a:gd name="connsiteY72" fmla="*/ 326083 h 593879"/>
              <a:gd name="connsiteX73" fmla="*/ 0 w 600511"/>
              <a:gd name="connsiteY73" fmla="*/ 232654 h 593879"/>
              <a:gd name="connsiteX74" fmla="*/ 233309 w 600511"/>
              <a:gd name="connsiteY74" fmla="*/ 326103 h 593879"/>
              <a:gd name="connsiteX75" fmla="*/ 466296 w 600511"/>
              <a:gd name="connsiteY75" fmla="*/ 232654 h 593879"/>
              <a:gd name="connsiteX76" fmla="*/ 466296 w 600511"/>
              <a:gd name="connsiteY76" fmla="*/ 299035 h 593879"/>
              <a:gd name="connsiteX77" fmla="*/ 312370 w 600511"/>
              <a:gd name="connsiteY77" fmla="*/ 413429 h 593879"/>
              <a:gd name="connsiteX78" fmla="*/ 233309 w 600511"/>
              <a:gd name="connsiteY78" fmla="*/ 419229 h 593879"/>
              <a:gd name="connsiteX79" fmla="*/ 0 w 600511"/>
              <a:gd name="connsiteY79" fmla="*/ 326103 h 593879"/>
              <a:gd name="connsiteX80" fmla="*/ 233309 w 600511"/>
              <a:gd name="connsiteY80" fmla="*/ 23200 h 593879"/>
              <a:gd name="connsiteX81" fmla="*/ 23234 w 600511"/>
              <a:gd name="connsiteY81" fmla="*/ 93123 h 593879"/>
              <a:gd name="connsiteX82" fmla="*/ 233309 w 600511"/>
              <a:gd name="connsiteY82" fmla="*/ 163046 h 593879"/>
              <a:gd name="connsiteX83" fmla="*/ 443062 w 600511"/>
              <a:gd name="connsiteY83" fmla="*/ 93123 h 593879"/>
              <a:gd name="connsiteX84" fmla="*/ 233309 w 600511"/>
              <a:gd name="connsiteY84" fmla="*/ 23200 h 593879"/>
              <a:gd name="connsiteX85" fmla="*/ 233309 w 600511"/>
              <a:gd name="connsiteY85" fmla="*/ 0 h 593879"/>
              <a:gd name="connsiteX86" fmla="*/ 466296 w 600511"/>
              <a:gd name="connsiteY86" fmla="*/ 93123 h 593879"/>
              <a:gd name="connsiteX87" fmla="*/ 466296 w 600511"/>
              <a:gd name="connsiteY87" fmla="*/ 186246 h 593879"/>
              <a:gd name="connsiteX88" fmla="*/ 233309 w 600511"/>
              <a:gd name="connsiteY88" fmla="*/ 279369 h 593879"/>
              <a:gd name="connsiteX89" fmla="*/ 0 w 600511"/>
              <a:gd name="connsiteY89" fmla="*/ 186246 h 593879"/>
              <a:gd name="connsiteX90" fmla="*/ 0 w 600511"/>
              <a:gd name="connsiteY90" fmla="*/ 93123 h 593879"/>
              <a:gd name="connsiteX91" fmla="*/ 233309 w 600511"/>
              <a:gd name="connsiteY91" fmla="*/ 0 h 593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600511" h="593879">
                <a:moveTo>
                  <a:pt x="466437" y="421770"/>
                </a:moveTo>
                <a:cubicBezTo>
                  <a:pt x="487560" y="421770"/>
                  <a:pt x="504684" y="438878"/>
                  <a:pt x="504684" y="459981"/>
                </a:cubicBezTo>
                <a:cubicBezTo>
                  <a:pt x="504684" y="481084"/>
                  <a:pt x="487560" y="498192"/>
                  <a:pt x="466437" y="498192"/>
                </a:cubicBezTo>
                <a:cubicBezTo>
                  <a:pt x="445314" y="498192"/>
                  <a:pt x="428190" y="481084"/>
                  <a:pt x="428190" y="459981"/>
                </a:cubicBezTo>
                <a:cubicBezTo>
                  <a:pt x="428190" y="438878"/>
                  <a:pt x="445314" y="421770"/>
                  <a:pt x="466437" y="421770"/>
                </a:cubicBezTo>
                <a:close/>
                <a:moveTo>
                  <a:pt x="453390" y="375066"/>
                </a:moveTo>
                <a:lnTo>
                  <a:pt x="421127" y="386990"/>
                </a:lnTo>
                <a:cubicBezTo>
                  <a:pt x="419191" y="387957"/>
                  <a:pt x="418223" y="389890"/>
                  <a:pt x="418868" y="392146"/>
                </a:cubicBezTo>
                <a:lnTo>
                  <a:pt x="424031" y="406325"/>
                </a:lnTo>
                <a:cubicBezTo>
                  <a:pt x="424998" y="408259"/>
                  <a:pt x="424676" y="410515"/>
                  <a:pt x="423385" y="411481"/>
                </a:cubicBezTo>
                <a:cubicBezTo>
                  <a:pt x="422417" y="412448"/>
                  <a:pt x="418223" y="414382"/>
                  <a:pt x="416287" y="413737"/>
                </a:cubicBezTo>
                <a:lnTo>
                  <a:pt x="402414" y="407292"/>
                </a:lnTo>
                <a:cubicBezTo>
                  <a:pt x="400478" y="406325"/>
                  <a:pt x="398220" y="407292"/>
                  <a:pt x="397252" y="409226"/>
                </a:cubicBezTo>
                <a:lnTo>
                  <a:pt x="383056" y="440485"/>
                </a:lnTo>
                <a:cubicBezTo>
                  <a:pt x="382088" y="442096"/>
                  <a:pt x="383056" y="444674"/>
                  <a:pt x="384669" y="445318"/>
                </a:cubicBezTo>
                <a:lnTo>
                  <a:pt x="398542" y="451764"/>
                </a:lnTo>
                <a:cubicBezTo>
                  <a:pt x="400478" y="452730"/>
                  <a:pt x="402091" y="454664"/>
                  <a:pt x="401769" y="455953"/>
                </a:cubicBezTo>
                <a:cubicBezTo>
                  <a:pt x="401769" y="457564"/>
                  <a:pt x="400156" y="462076"/>
                  <a:pt x="398220" y="462720"/>
                </a:cubicBezTo>
                <a:lnTo>
                  <a:pt x="384024" y="467876"/>
                </a:lnTo>
                <a:cubicBezTo>
                  <a:pt x="382088" y="468521"/>
                  <a:pt x="381120" y="470777"/>
                  <a:pt x="381766" y="472710"/>
                </a:cubicBezTo>
                <a:lnTo>
                  <a:pt x="393380" y="504936"/>
                </a:lnTo>
                <a:cubicBezTo>
                  <a:pt x="394348" y="506870"/>
                  <a:pt x="396607" y="507836"/>
                  <a:pt x="398542" y="507192"/>
                </a:cubicBezTo>
                <a:lnTo>
                  <a:pt x="412738" y="502036"/>
                </a:lnTo>
                <a:cubicBezTo>
                  <a:pt x="414674" y="501391"/>
                  <a:pt x="417255" y="501713"/>
                  <a:pt x="417900" y="502680"/>
                </a:cubicBezTo>
                <a:cubicBezTo>
                  <a:pt x="418868" y="503969"/>
                  <a:pt x="421127" y="508159"/>
                  <a:pt x="420159" y="510092"/>
                </a:cubicBezTo>
                <a:lnTo>
                  <a:pt x="413706" y="523949"/>
                </a:lnTo>
                <a:cubicBezTo>
                  <a:pt x="412738" y="525561"/>
                  <a:pt x="413706" y="527816"/>
                  <a:pt x="415642" y="528783"/>
                </a:cubicBezTo>
                <a:lnTo>
                  <a:pt x="446937" y="543285"/>
                </a:lnTo>
                <a:cubicBezTo>
                  <a:pt x="448873" y="544251"/>
                  <a:pt x="451132" y="543285"/>
                  <a:pt x="451777" y="541351"/>
                </a:cubicBezTo>
                <a:lnTo>
                  <a:pt x="458230" y="527494"/>
                </a:lnTo>
                <a:cubicBezTo>
                  <a:pt x="459198" y="525561"/>
                  <a:pt x="461133" y="524272"/>
                  <a:pt x="462424" y="524272"/>
                </a:cubicBezTo>
                <a:cubicBezTo>
                  <a:pt x="464037" y="524272"/>
                  <a:pt x="468554" y="525883"/>
                  <a:pt x="469199" y="528139"/>
                </a:cubicBezTo>
                <a:lnTo>
                  <a:pt x="474361" y="542318"/>
                </a:lnTo>
                <a:cubicBezTo>
                  <a:pt x="475007" y="544251"/>
                  <a:pt x="477265" y="545218"/>
                  <a:pt x="479201" y="544574"/>
                </a:cubicBezTo>
                <a:lnTo>
                  <a:pt x="511464" y="532650"/>
                </a:lnTo>
                <a:cubicBezTo>
                  <a:pt x="513400" y="532006"/>
                  <a:pt x="514368" y="529750"/>
                  <a:pt x="513723" y="527816"/>
                </a:cubicBezTo>
                <a:lnTo>
                  <a:pt x="508560" y="513315"/>
                </a:lnTo>
                <a:cubicBezTo>
                  <a:pt x="507915" y="511381"/>
                  <a:pt x="508238" y="509125"/>
                  <a:pt x="509206" y="508159"/>
                </a:cubicBezTo>
                <a:cubicBezTo>
                  <a:pt x="510496" y="507192"/>
                  <a:pt x="514691" y="505258"/>
                  <a:pt x="516626" y="506225"/>
                </a:cubicBezTo>
                <a:lnTo>
                  <a:pt x="530500" y="512348"/>
                </a:lnTo>
                <a:cubicBezTo>
                  <a:pt x="532435" y="513315"/>
                  <a:pt x="534694" y="512348"/>
                  <a:pt x="535339" y="510737"/>
                </a:cubicBezTo>
                <a:lnTo>
                  <a:pt x="549858" y="479478"/>
                </a:lnTo>
                <a:cubicBezTo>
                  <a:pt x="550825" y="477544"/>
                  <a:pt x="549858" y="475288"/>
                  <a:pt x="547922" y="474322"/>
                </a:cubicBezTo>
                <a:lnTo>
                  <a:pt x="534049" y="467876"/>
                </a:lnTo>
                <a:cubicBezTo>
                  <a:pt x="532113" y="467232"/>
                  <a:pt x="531145" y="462398"/>
                  <a:pt x="531145" y="461109"/>
                </a:cubicBezTo>
                <a:cubicBezTo>
                  <a:pt x="531145" y="459498"/>
                  <a:pt x="532435" y="457886"/>
                  <a:pt x="534694" y="457242"/>
                </a:cubicBezTo>
                <a:lnTo>
                  <a:pt x="548890" y="451764"/>
                </a:lnTo>
                <a:cubicBezTo>
                  <a:pt x="550825" y="451119"/>
                  <a:pt x="551793" y="448863"/>
                  <a:pt x="551148" y="446930"/>
                </a:cubicBezTo>
                <a:lnTo>
                  <a:pt x="539211" y="414704"/>
                </a:lnTo>
                <a:cubicBezTo>
                  <a:pt x="538565" y="412770"/>
                  <a:pt x="536307" y="411804"/>
                  <a:pt x="534371" y="412448"/>
                </a:cubicBezTo>
                <a:lnTo>
                  <a:pt x="520175" y="417604"/>
                </a:lnTo>
                <a:cubicBezTo>
                  <a:pt x="517917" y="418571"/>
                  <a:pt x="515658" y="418249"/>
                  <a:pt x="514691" y="416960"/>
                </a:cubicBezTo>
                <a:cubicBezTo>
                  <a:pt x="513723" y="415993"/>
                  <a:pt x="511787" y="411481"/>
                  <a:pt x="512755" y="409548"/>
                </a:cubicBezTo>
                <a:lnTo>
                  <a:pt x="518885" y="396013"/>
                </a:lnTo>
                <a:cubicBezTo>
                  <a:pt x="519853" y="394079"/>
                  <a:pt x="518885" y="391824"/>
                  <a:pt x="516949" y="390857"/>
                </a:cubicBezTo>
                <a:lnTo>
                  <a:pt x="485976" y="376355"/>
                </a:lnTo>
                <a:cubicBezTo>
                  <a:pt x="484040" y="375711"/>
                  <a:pt x="481782" y="376355"/>
                  <a:pt x="480814" y="378289"/>
                </a:cubicBezTo>
                <a:lnTo>
                  <a:pt x="474361" y="392146"/>
                </a:lnTo>
                <a:cubicBezTo>
                  <a:pt x="473716" y="394079"/>
                  <a:pt x="471780" y="395691"/>
                  <a:pt x="470167" y="395368"/>
                </a:cubicBezTo>
                <a:cubicBezTo>
                  <a:pt x="468877" y="395368"/>
                  <a:pt x="464360" y="393757"/>
                  <a:pt x="463714" y="391824"/>
                </a:cubicBezTo>
                <a:lnTo>
                  <a:pt x="458230" y="377322"/>
                </a:lnTo>
                <a:cubicBezTo>
                  <a:pt x="457584" y="375389"/>
                  <a:pt x="455326" y="374422"/>
                  <a:pt x="453390" y="375066"/>
                </a:cubicBezTo>
                <a:close/>
                <a:moveTo>
                  <a:pt x="0" y="372515"/>
                </a:moveTo>
                <a:cubicBezTo>
                  <a:pt x="0" y="424064"/>
                  <a:pt x="104223" y="465626"/>
                  <a:pt x="233292" y="465626"/>
                </a:cubicBezTo>
                <a:cubicBezTo>
                  <a:pt x="258461" y="465626"/>
                  <a:pt x="282661" y="464015"/>
                  <a:pt x="305248" y="461116"/>
                </a:cubicBezTo>
                <a:cubicBezTo>
                  <a:pt x="305571" y="493978"/>
                  <a:pt x="315574" y="524264"/>
                  <a:pt x="332998" y="549716"/>
                </a:cubicBezTo>
                <a:cubicBezTo>
                  <a:pt x="302667" y="555515"/>
                  <a:pt x="268786" y="558737"/>
                  <a:pt x="233292" y="558737"/>
                </a:cubicBezTo>
                <a:cubicBezTo>
                  <a:pt x="104546" y="558737"/>
                  <a:pt x="0" y="517175"/>
                  <a:pt x="0" y="465626"/>
                </a:cubicBezTo>
                <a:close/>
                <a:moveTo>
                  <a:pt x="466295" y="326083"/>
                </a:moveTo>
                <a:cubicBezTo>
                  <a:pt x="540501" y="326083"/>
                  <a:pt x="600511" y="386023"/>
                  <a:pt x="600511" y="459820"/>
                </a:cubicBezTo>
                <a:cubicBezTo>
                  <a:pt x="600511" y="533939"/>
                  <a:pt x="540501" y="593879"/>
                  <a:pt x="466295" y="593879"/>
                </a:cubicBezTo>
                <a:cubicBezTo>
                  <a:pt x="392412" y="593879"/>
                  <a:pt x="332080" y="533939"/>
                  <a:pt x="332080" y="459820"/>
                </a:cubicBezTo>
                <a:cubicBezTo>
                  <a:pt x="332080" y="386023"/>
                  <a:pt x="392412" y="326083"/>
                  <a:pt x="466295" y="326083"/>
                </a:cubicBezTo>
                <a:close/>
                <a:moveTo>
                  <a:pt x="0" y="232654"/>
                </a:moveTo>
                <a:cubicBezTo>
                  <a:pt x="0" y="284212"/>
                  <a:pt x="104554" y="326103"/>
                  <a:pt x="233309" y="326103"/>
                </a:cubicBezTo>
                <a:cubicBezTo>
                  <a:pt x="362065" y="326103"/>
                  <a:pt x="466296" y="284212"/>
                  <a:pt x="466296" y="232654"/>
                </a:cubicBezTo>
                <a:lnTo>
                  <a:pt x="466296" y="299035"/>
                </a:lnTo>
                <a:cubicBezTo>
                  <a:pt x="393689" y="299035"/>
                  <a:pt x="332377" y="347370"/>
                  <a:pt x="312370" y="413429"/>
                </a:cubicBezTo>
                <a:cubicBezTo>
                  <a:pt x="287522" y="416973"/>
                  <a:pt x="261061" y="419229"/>
                  <a:pt x="233309" y="419229"/>
                </a:cubicBezTo>
                <a:cubicBezTo>
                  <a:pt x="104231" y="419229"/>
                  <a:pt x="0" y="377338"/>
                  <a:pt x="0" y="326103"/>
                </a:cubicBezTo>
                <a:close/>
                <a:moveTo>
                  <a:pt x="233309" y="23200"/>
                </a:moveTo>
                <a:cubicBezTo>
                  <a:pt x="105199" y="23200"/>
                  <a:pt x="23234" y="64445"/>
                  <a:pt x="23234" y="93123"/>
                </a:cubicBezTo>
                <a:cubicBezTo>
                  <a:pt x="23234" y="121479"/>
                  <a:pt x="105199" y="163046"/>
                  <a:pt x="233309" y="163046"/>
                </a:cubicBezTo>
                <a:cubicBezTo>
                  <a:pt x="361420" y="163046"/>
                  <a:pt x="443062" y="121479"/>
                  <a:pt x="443062" y="93123"/>
                </a:cubicBezTo>
                <a:cubicBezTo>
                  <a:pt x="443062" y="64445"/>
                  <a:pt x="361420" y="23200"/>
                  <a:pt x="233309" y="23200"/>
                </a:cubicBezTo>
                <a:close/>
                <a:moveTo>
                  <a:pt x="233309" y="0"/>
                </a:moveTo>
                <a:cubicBezTo>
                  <a:pt x="362065" y="0"/>
                  <a:pt x="466296" y="41567"/>
                  <a:pt x="466296" y="93123"/>
                </a:cubicBezTo>
                <a:lnTo>
                  <a:pt x="466296" y="186246"/>
                </a:lnTo>
                <a:cubicBezTo>
                  <a:pt x="466296" y="237802"/>
                  <a:pt x="362065" y="279369"/>
                  <a:pt x="233309" y="279369"/>
                </a:cubicBezTo>
                <a:cubicBezTo>
                  <a:pt x="104231" y="279369"/>
                  <a:pt x="0" y="237802"/>
                  <a:pt x="0" y="186246"/>
                </a:cubicBezTo>
                <a:lnTo>
                  <a:pt x="0" y="93123"/>
                </a:lnTo>
                <a:cubicBezTo>
                  <a:pt x="0" y="41567"/>
                  <a:pt x="104554" y="0"/>
                  <a:pt x="23330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40" name="ïṣľîḋê"/>
          <p:cNvSpPr/>
          <p:nvPr/>
        </p:nvSpPr>
        <p:spPr>
          <a:xfrm>
            <a:off x="1748389" y="1546388"/>
            <a:ext cx="4650138" cy="1254040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>
              <a:lnSpc>
                <a:spcPct val="132000"/>
              </a:lnSpc>
              <a:buClr>
                <a:schemeClr val="tx1"/>
              </a:buClr>
            </a:pPr>
            <a:r>
              <a:rPr lang="en-US" altLang="zh-CN" sz="2400" dirty="0"/>
              <a:t>OS</a:t>
            </a:r>
            <a:r>
              <a:rPr lang="zh-CN" altLang="en-US" sz="2400" dirty="0"/>
              <a:t>是无结构的，是为数众多的一组过程的集合，内部复杂、混乱</a:t>
            </a:r>
          </a:p>
        </p:txBody>
      </p:sp>
      <p:sp>
        <p:nvSpPr>
          <p:cNvPr id="41" name="îṧľïdè"/>
          <p:cNvSpPr/>
          <p:nvPr/>
        </p:nvSpPr>
        <p:spPr>
          <a:xfrm>
            <a:off x="1748873" y="3098073"/>
            <a:ext cx="3271368" cy="1066230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>
              <a:lnSpc>
                <a:spcPct val="132000"/>
              </a:lnSpc>
            </a:pPr>
            <a:r>
              <a:rPr lang="zh-CN" altLang="en-US" sz="2400" dirty="0"/>
              <a:t>也称整体系统结构</a:t>
            </a:r>
          </a:p>
        </p:txBody>
      </p:sp>
      <p:sp>
        <p:nvSpPr>
          <p:cNvPr id="42" name="ïśļíde"/>
          <p:cNvSpPr/>
          <p:nvPr/>
        </p:nvSpPr>
        <p:spPr>
          <a:xfrm>
            <a:off x="1748873" y="4633767"/>
            <a:ext cx="4455182" cy="883466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>
              <a:lnSpc>
                <a:spcPct val="132000"/>
              </a:lnSpc>
            </a:pPr>
            <a:r>
              <a:rPr lang="zh-CN" altLang="en-US" sz="2400" dirty="0"/>
              <a:t>例子：</a:t>
            </a:r>
            <a:r>
              <a:rPr lang="en-US" altLang="zh-CN" sz="2400" dirty="0"/>
              <a:t>MS-DOS</a:t>
            </a:r>
            <a:r>
              <a:rPr lang="zh-CN" altLang="en-US" sz="2400" dirty="0"/>
              <a:t>，早期的</a:t>
            </a:r>
            <a:r>
              <a:rPr lang="en-US" altLang="zh-CN" sz="2400" dirty="0"/>
              <a:t>UNIX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模块化结构</a:t>
            </a:r>
          </a:p>
        </p:txBody>
      </p:sp>
      <p:sp>
        <p:nvSpPr>
          <p:cNvPr id="15" name="îŝļiḋe"/>
          <p:cNvSpPr/>
          <p:nvPr/>
        </p:nvSpPr>
        <p:spPr>
          <a:xfrm>
            <a:off x="883141" y="1323483"/>
            <a:ext cx="656948" cy="5003800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16" name="í$1iďè"/>
          <p:cNvGrpSpPr/>
          <p:nvPr/>
        </p:nvGrpSpPr>
        <p:grpSpPr>
          <a:xfrm>
            <a:off x="1007429" y="1482069"/>
            <a:ext cx="10507661" cy="582314"/>
            <a:chOff x="4136995" y="1556469"/>
            <a:chExt cx="10507661" cy="582314"/>
          </a:xfrm>
        </p:grpSpPr>
        <p:sp>
          <p:nvSpPr>
            <p:cNvPr id="50" name="îslîďê"/>
            <p:cNvSpPr/>
            <p:nvPr/>
          </p:nvSpPr>
          <p:spPr>
            <a:xfrm>
              <a:off x="4136995" y="1583824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ïSḻiḍé"/>
            <p:cNvSpPr txBox="1"/>
            <p:nvPr/>
          </p:nvSpPr>
          <p:spPr>
            <a:xfrm>
              <a:off x="4882719" y="1556469"/>
              <a:ext cx="9761937" cy="58231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b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2400" dirty="0">
                  <a:solidFill>
                    <a:srgbClr val="FF0000"/>
                  </a:solidFill>
                </a:rPr>
                <a:t>将</a:t>
              </a:r>
              <a:r>
                <a:rPr lang="en-US" altLang="zh-CN" sz="2400" dirty="0">
                  <a:solidFill>
                    <a:srgbClr val="FF0000"/>
                  </a:solidFill>
                </a:rPr>
                <a:t>OS</a:t>
              </a:r>
              <a:r>
                <a:rPr lang="zh-CN" altLang="en-US" sz="2400" dirty="0">
                  <a:solidFill>
                    <a:srgbClr val="FF0000"/>
                  </a:solidFill>
                </a:rPr>
                <a:t>按功能划分成若干个模块</a:t>
              </a:r>
              <a:r>
                <a:rPr lang="zh-CN" altLang="en-US" sz="2400" dirty="0"/>
                <a:t>，并规定好各模块间的接口，称为“模块</a:t>
              </a:r>
              <a:r>
                <a:rPr lang="en-US" altLang="zh-CN" sz="2400" dirty="0"/>
                <a:t>-</a:t>
              </a:r>
              <a:r>
                <a:rPr lang="zh-CN" altLang="en-US" sz="2400" dirty="0"/>
                <a:t>接口法”</a:t>
              </a:r>
            </a:p>
          </p:txBody>
        </p:sp>
      </p:grpSp>
      <p:grpSp>
        <p:nvGrpSpPr>
          <p:cNvPr id="17" name="išḷîḓé"/>
          <p:cNvGrpSpPr/>
          <p:nvPr/>
        </p:nvGrpSpPr>
        <p:grpSpPr>
          <a:xfrm>
            <a:off x="1007429" y="2356673"/>
            <a:ext cx="10132796" cy="1481627"/>
            <a:chOff x="4136995" y="2564791"/>
            <a:chExt cx="10132796" cy="1481627"/>
          </a:xfrm>
        </p:grpSpPr>
        <p:sp>
          <p:nvSpPr>
            <p:cNvPr id="46" name="íśľïḋé"/>
            <p:cNvSpPr/>
            <p:nvPr/>
          </p:nvSpPr>
          <p:spPr>
            <a:xfrm>
              <a:off x="4136995" y="3050991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grpSp>
          <p:nvGrpSpPr>
            <p:cNvPr id="47" name="îśľíḍe"/>
            <p:cNvGrpSpPr/>
            <p:nvPr/>
          </p:nvGrpSpPr>
          <p:grpSpPr>
            <a:xfrm>
              <a:off x="4882719" y="2564791"/>
              <a:ext cx="9387072" cy="1481627"/>
              <a:chOff x="5523309" y="2034654"/>
              <a:chExt cx="8559454" cy="1481627"/>
            </a:xfrm>
          </p:grpSpPr>
          <p:sp>
            <p:nvSpPr>
              <p:cNvPr id="48" name="îŝľîḓè"/>
              <p:cNvSpPr txBox="1"/>
              <p:nvPr/>
            </p:nvSpPr>
            <p:spPr>
              <a:xfrm>
                <a:off x="5523309" y="2034654"/>
                <a:ext cx="2784667" cy="41762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b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400" b="1" dirty="0">
                    <a:solidFill>
                      <a:srgbClr val="0000FF"/>
                    </a:solidFill>
                  </a:rPr>
                  <a:t>优点：</a:t>
                </a:r>
              </a:p>
            </p:txBody>
          </p:sp>
          <p:sp>
            <p:nvSpPr>
              <p:cNvPr id="49" name="iṥlîde"/>
              <p:cNvSpPr/>
              <p:nvPr/>
            </p:nvSpPr>
            <p:spPr bwMode="auto">
              <a:xfrm>
                <a:off x="5523309" y="2405353"/>
                <a:ext cx="8559454" cy="11109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indent="-342900">
                  <a:lnSpc>
                    <a:spcPct val="132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sz="2000" dirty="0"/>
                  <a:t>提高</a:t>
                </a:r>
                <a:r>
                  <a:rPr lang="en-US" altLang="zh-CN" sz="2000" dirty="0"/>
                  <a:t>OS</a:t>
                </a:r>
                <a:r>
                  <a:rPr lang="zh-CN" altLang="en-US" sz="2000" dirty="0"/>
                  <a:t>设计的正确性、可理解性和易维护性</a:t>
                </a:r>
              </a:p>
              <a:p>
                <a:pPr marL="342900" indent="-342900">
                  <a:lnSpc>
                    <a:spcPct val="132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sz="2000" dirty="0"/>
                  <a:t>增强</a:t>
                </a:r>
                <a:r>
                  <a:rPr lang="en-US" altLang="zh-CN" sz="2000" dirty="0"/>
                  <a:t>OS</a:t>
                </a:r>
                <a:r>
                  <a:rPr lang="zh-CN" altLang="en-US" sz="2000" dirty="0"/>
                  <a:t>的可适应性</a:t>
                </a:r>
              </a:p>
              <a:p>
                <a:pPr marL="342900" indent="-342900">
                  <a:lnSpc>
                    <a:spcPct val="132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sz="2000" dirty="0"/>
                  <a:t>加速</a:t>
                </a:r>
                <a:r>
                  <a:rPr lang="en-US" altLang="zh-CN" sz="2000" dirty="0"/>
                  <a:t>OS</a:t>
                </a:r>
                <a:r>
                  <a:rPr lang="zh-CN" altLang="en-US" sz="2000" dirty="0"/>
                  <a:t>的开发过程</a:t>
                </a:r>
              </a:p>
            </p:txBody>
          </p:sp>
        </p:grpSp>
      </p:grpSp>
      <p:grpSp>
        <p:nvGrpSpPr>
          <p:cNvPr id="18" name="ïSlíḍê"/>
          <p:cNvGrpSpPr/>
          <p:nvPr/>
        </p:nvGrpSpPr>
        <p:grpSpPr>
          <a:xfrm>
            <a:off x="1007429" y="4191034"/>
            <a:ext cx="10596435" cy="1541433"/>
            <a:chOff x="4136995" y="4296450"/>
            <a:chExt cx="10596435" cy="1541433"/>
          </a:xfrm>
        </p:grpSpPr>
        <p:sp>
          <p:nvSpPr>
            <p:cNvPr id="36" name="ïsľíḓê"/>
            <p:cNvSpPr/>
            <p:nvPr/>
          </p:nvSpPr>
          <p:spPr>
            <a:xfrm>
              <a:off x="4136995" y="4943159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grpSp>
          <p:nvGrpSpPr>
            <p:cNvPr id="43" name="ïṩḷíḍê"/>
            <p:cNvGrpSpPr/>
            <p:nvPr/>
          </p:nvGrpSpPr>
          <p:grpSpPr>
            <a:xfrm>
              <a:off x="4882719" y="4296450"/>
              <a:ext cx="9850711" cy="1541433"/>
              <a:chOff x="5523309" y="2028690"/>
              <a:chExt cx="8982216" cy="1541433"/>
            </a:xfrm>
          </p:grpSpPr>
          <p:sp>
            <p:nvSpPr>
              <p:cNvPr id="44" name="íṧļîḋê"/>
              <p:cNvSpPr txBox="1"/>
              <p:nvPr/>
            </p:nvSpPr>
            <p:spPr>
              <a:xfrm>
                <a:off x="5523309" y="2028690"/>
                <a:ext cx="8982216" cy="41762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b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400" dirty="0"/>
                  <a:t> 大部分现代</a:t>
                </a:r>
                <a:r>
                  <a:rPr lang="en-US" altLang="zh-CN" sz="2400" dirty="0"/>
                  <a:t>OS</a:t>
                </a:r>
                <a:r>
                  <a:rPr lang="zh-CN" altLang="en-US" sz="2400" dirty="0"/>
                  <a:t>采用可加载的内核模块来设计</a:t>
                </a:r>
              </a:p>
            </p:txBody>
          </p:sp>
          <p:sp>
            <p:nvSpPr>
              <p:cNvPr id="45" name="îṧ1ïḑe"/>
              <p:cNvSpPr/>
              <p:nvPr/>
            </p:nvSpPr>
            <p:spPr bwMode="auto">
              <a:xfrm>
                <a:off x="5582027" y="2459195"/>
                <a:ext cx="7960541" cy="11109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32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sz="2000" dirty="0"/>
                  <a:t>内核有一组核心组件，提供核心服务</a:t>
                </a:r>
              </a:p>
              <a:p>
                <a:pPr marL="171450" indent="-171450">
                  <a:lnSpc>
                    <a:spcPct val="132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sz="2000" dirty="0"/>
                  <a:t>其他服务可在内核运行时动态实现（动态链接）</a:t>
                </a:r>
              </a:p>
              <a:p>
                <a:pPr marL="171450" indent="-171450">
                  <a:lnSpc>
                    <a:spcPct val="132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sz="2000" dirty="0"/>
                  <a:t>每个组件在需要时被加载到内核</a:t>
                </a:r>
              </a:p>
              <a:p>
                <a:pPr marL="171450" indent="-171450">
                  <a:lnSpc>
                    <a:spcPct val="132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sz="2000" dirty="0"/>
                  <a:t>例子：</a:t>
                </a:r>
                <a:r>
                  <a:rPr lang="en-US" altLang="zh-CN" sz="2000" dirty="0"/>
                  <a:t>Linux</a:t>
                </a:r>
                <a:r>
                  <a:rPr lang="zh-CN" altLang="en-US" sz="2000" dirty="0"/>
                  <a:t>、</a:t>
                </a:r>
                <a:r>
                  <a:rPr lang="en-US" altLang="zh-CN" sz="2000" dirty="0"/>
                  <a:t>Mac OS X</a:t>
                </a:r>
                <a:r>
                  <a:rPr lang="zh-CN" altLang="en-US" sz="2000" dirty="0"/>
                  <a:t>、</a:t>
                </a:r>
                <a:r>
                  <a:rPr lang="en-US" altLang="zh-CN" sz="2000" dirty="0"/>
                  <a:t>Solaris</a:t>
                </a:r>
                <a:r>
                  <a:rPr lang="zh-CN" altLang="en-US" sz="2000" dirty="0"/>
                  <a:t>以及</a:t>
                </a:r>
                <a:r>
                  <a:rPr lang="en-US" altLang="zh-CN" sz="2000" dirty="0"/>
                  <a:t>Windows</a:t>
                </a:r>
              </a:p>
            </p:txBody>
          </p:sp>
        </p:grpSp>
      </p:grpSp>
      <p:cxnSp>
        <p:nvCxnSpPr>
          <p:cNvPr id="22" name="直接连接符 21"/>
          <p:cNvCxnSpPr/>
          <p:nvPr/>
        </p:nvCxnSpPr>
        <p:spPr>
          <a:xfrm>
            <a:off x="1841929" y="2157246"/>
            <a:ext cx="9761936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/>
          <p:cNvCxnSpPr/>
          <p:nvPr/>
        </p:nvCxnSpPr>
        <p:spPr>
          <a:xfrm>
            <a:off x="1841929" y="4083512"/>
            <a:ext cx="9761935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olaris </a:t>
            </a:r>
            <a:r>
              <a:rPr lang="zh-CN" altLang="en-US" sz="2800" b="1" dirty="0">
                <a:solidFill>
                  <a:schemeClr val="bg1"/>
                </a:solidFill>
              </a:rPr>
              <a:t>模块</a:t>
            </a:r>
          </a:p>
        </p:txBody>
      </p:sp>
      <p:pic>
        <p:nvPicPr>
          <p:cNvPr id="19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8" t="18747" r="351" b="19215"/>
          <a:stretch>
            <a:fillRect/>
          </a:stretch>
        </p:blipFill>
        <p:spPr bwMode="auto">
          <a:xfrm>
            <a:off x="1611468" y="1447755"/>
            <a:ext cx="8877933" cy="4167434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  <a:headEnd/>
            <a:tailEnd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分层式结构</a:t>
            </a:r>
          </a:p>
        </p:txBody>
      </p:sp>
      <p:sp>
        <p:nvSpPr>
          <p:cNvPr id="4" name="íšḻîḋè"/>
          <p:cNvSpPr/>
          <p:nvPr/>
        </p:nvSpPr>
        <p:spPr>
          <a:xfrm>
            <a:off x="2055936" y="3525448"/>
            <a:ext cx="7178215" cy="99605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易保证系统的准确性。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可保证系统的易维护性和可扩充性。</a:t>
            </a:r>
          </a:p>
        </p:txBody>
      </p:sp>
      <p:sp>
        <p:nvSpPr>
          <p:cNvPr id="5" name="i$lîďê"/>
          <p:cNvSpPr/>
          <p:nvPr/>
        </p:nvSpPr>
        <p:spPr>
          <a:xfrm>
            <a:off x="2111572" y="2995279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FF0000"/>
                </a:solidFill>
              </a:rPr>
              <a:t>优点：</a:t>
            </a:r>
            <a:endParaRPr lang="en-US" altLang="zh-CN" sz="2400" dirty="0">
              <a:solidFill>
                <a:srgbClr val="FF0000"/>
              </a:solidFill>
            </a:endParaRPr>
          </a:p>
        </p:txBody>
      </p:sp>
      <p:sp>
        <p:nvSpPr>
          <p:cNvPr id="6" name="î$ļíḋè"/>
          <p:cNvSpPr/>
          <p:nvPr/>
        </p:nvSpPr>
        <p:spPr>
          <a:xfrm>
            <a:off x="2111574" y="5109674"/>
            <a:ext cx="5459358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系统的开销大，系统效率低。</a:t>
            </a:r>
          </a:p>
        </p:txBody>
      </p:sp>
      <p:sp>
        <p:nvSpPr>
          <p:cNvPr id="7" name="ïṧḷïḋè"/>
          <p:cNvSpPr/>
          <p:nvPr/>
        </p:nvSpPr>
        <p:spPr>
          <a:xfrm>
            <a:off x="2111574" y="4596899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FF0000"/>
                </a:solidFill>
              </a:rPr>
              <a:t>缺点：</a:t>
            </a:r>
          </a:p>
        </p:txBody>
      </p:sp>
      <p:sp>
        <p:nvSpPr>
          <p:cNvPr id="8" name="îs1iďé"/>
          <p:cNvSpPr/>
          <p:nvPr/>
        </p:nvSpPr>
        <p:spPr>
          <a:xfrm>
            <a:off x="2130630" y="1804361"/>
            <a:ext cx="9711234" cy="116937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高层仅依赖于紧邻它的底层。</a:t>
            </a:r>
          </a:p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底层（</a:t>
            </a:r>
            <a:r>
              <a:rPr lang="en-US" altLang="zh-CN" sz="2200" dirty="0"/>
              <a:t>0</a:t>
            </a:r>
            <a:r>
              <a:rPr lang="zh-CN" altLang="en-US" sz="2200" dirty="0"/>
              <a:t>层）为硬件；最高层（ </a:t>
            </a:r>
            <a:r>
              <a:rPr lang="en-US" altLang="zh-CN" sz="2200" dirty="0"/>
              <a:t>N</a:t>
            </a:r>
            <a:r>
              <a:rPr lang="zh-CN" altLang="en-US" sz="2200" dirty="0"/>
              <a:t>层）为用户层。</a:t>
            </a:r>
          </a:p>
        </p:txBody>
      </p:sp>
      <p:sp>
        <p:nvSpPr>
          <p:cNvPr id="9" name="íšḻíḑê"/>
          <p:cNvSpPr/>
          <p:nvPr/>
        </p:nvSpPr>
        <p:spPr>
          <a:xfrm>
            <a:off x="2111573" y="1271404"/>
            <a:ext cx="7264247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操作系统划分为若干层，在低层上构建高层。</a:t>
            </a:r>
          </a:p>
        </p:txBody>
      </p:sp>
      <p:sp>
        <p:nvSpPr>
          <p:cNvPr id="24" name="íšḻíḑê"/>
          <p:cNvSpPr/>
          <p:nvPr/>
        </p:nvSpPr>
        <p:spPr>
          <a:xfrm>
            <a:off x="2111573" y="5816070"/>
            <a:ext cx="7264247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例子：</a:t>
            </a:r>
            <a:r>
              <a:rPr lang="en-US" altLang="zh-CN" sz="2400" dirty="0"/>
              <a:t>THE</a:t>
            </a:r>
            <a:r>
              <a:rPr lang="zh-CN" altLang="en-US" sz="2400" dirty="0"/>
              <a:t>、</a:t>
            </a:r>
            <a:r>
              <a:rPr lang="en-US" altLang="zh-CN" sz="2400" dirty="0" err="1"/>
              <a:t>Multics</a:t>
            </a:r>
            <a:endParaRPr lang="zh-CN" altLang="en-US" sz="2400" dirty="0"/>
          </a:p>
        </p:txBody>
      </p:sp>
      <p:sp>
        <p:nvSpPr>
          <p:cNvPr id="10" name="îSļiḓè"/>
          <p:cNvSpPr/>
          <p:nvPr/>
        </p:nvSpPr>
        <p:spPr>
          <a:xfrm>
            <a:off x="1428070" y="1257842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1" name="íṥḻîḓe"/>
          <p:cNvSpPr/>
          <p:nvPr/>
        </p:nvSpPr>
        <p:spPr>
          <a:xfrm>
            <a:off x="1428070" y="4514297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/>
        </p:nvSpPr>
        <p:spPr>
          <a:xfrm>
            <a:off x="1428070" y="2894753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3" name="îṡḷíďe"/>
          <p:cNvSpPr/>
          <p:nvPr/>
        </p:nvSpPr>
        <p:spPr>
          <a:xfrm>
            <a:off x="1618325" y="1453980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/>
        </p:nvSpPr>
        <p:spPr>
          <a:xfrm>
            <a:off x="1618324" y="3116770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/>
        </p:nvSpPr>
        <p:spPr>
          <a:xfrm>
            <a:off x="1647263" y="4703757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5" name="îSļiḓè"/>
          <p:cNvSpPr/>
          <p:nvPr/>
        </p:nvSpPr>
        <p:spPr>
          <a:xfrm>
            <a:off x="1428070" y="569947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6" name="îṡḷíďe"/>
          <p:cNvSpPr/>
          <p:nvPr/>
        </p:nvSpPr>
        <p:spPr>
          <a:xfrm>
            <a:off x="1618325" y="5895614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分层操作系统</a:t>
            </a:r>
          </a:p>
        </p:txBody>
      </p:sp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89" t="708" r="13089" b="708"/>
          <a:stretch>
            <a:fillRect/>
          </a:stretch>
        </p:blipFill>
        <p:spPr bwMode="auto">
          <a:xfrm>
            <a:off x="3747215" y="1135178"/>
            <a:ext cx="5087691" cy="5095309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微内核</a:t>
            </a:r>
            <a:r>
              <a:rPr lang="en-US" altLang="zh-CN" sz="2800" b="1" dirty="0">
                <a:solidFill>
                  <a:schemeClr val="bg1"/>
                </a:solidFill>
              </a:rPr>
              <a:t>OS</a:t>
            </a:r>
            <a:r>
              <a:rPr lang="zh-CN" altLang="en-US" sz="2800" b="1" dirty="0">
                <a:solidFill>
                  <a:schemeClr val="bg1"/>
                </a:solidFill>
              </a:rPr>
              <a:t>结构</a:t>
            </a:r>
          </a:p>
        </p:txBody>
      </p:sp>
      <p:sp>
        <p:nvSpPr>
          <p:cNvPr id="4" name="íšḻîḋè"/>
          <p:cNvSpPr/>
          <p:nvPr/>
        </p:nvSpPr>
        <p:spPr>
          <a:xfrm>
            <a:off x="1849875" y="4167296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进程管理、低级存储器管理、中断和陷入处理</a:t>
            </a:r>
          </a:p>
        </p:txBody>
      </p:sp>
      <p:sp>
        <p:nvSpPr>
          <p:cNvPr id="5" name="i$lîďê"/>
          <p:cNvSpPr/>
          <p:nvPr/>
        </p:nvSpPr>
        <p:spPr>
          <a:xfrm>
            <a:off x="1905511" y="3637127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基本功能</a:t>
            </a:r>
          </a:p>
        </p:txBody>
      </p:sp>
      <p:sp>
        <p:nvSpPr>
          <p:cNvPr id="7" name="ïṧḷïḋè"/>
          <p:cNvSpPr/>
          <p:nvPr/>
        </p:nvSpPr>
        <p:spPr>
          <a:xfrm>
            <a:off x="1905512" y="5047660"/>
            <a:ext cx="606651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实例：</a:t>
            </a:r>
            <a:r>
              <a:rPr lang="en-US" altLang="zh-CN" sz="2400" dirty="0"/>
              <a:t>Mach OS, Windows 2000/XP</a:t>
            </a:r>
          </a:p>
        </p:txBody>
      </p:sp>
      <p:sp>
        <p:nvSpPr>
          <p:cNvPr id="8" name="îs1iďé"/>
          <p:cNvSpPr/>
          <p:nvPr/>
        </p:nvSpPr>
        <p:spPr>
          <a:xfrm>
            <a:off x="1924568" y="2216485"/>
            <a:ext cx="4069722" cy="116937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足够小的内核</a:t>
            </a:r>
          </a:p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基于客户</a:t>
            </a:r>
            <a:r>
              <a:rPr lang="en-US" altLang="zh-CN" sz="2200" dirty="0"/>
              <a:t>/</a:t>
            </a:r>
            <a:r>
              <a:rPr lang="zh-CN" altLang="en-US" sz="2200" dirty="0"/>
              <a:t>服务器模式</a:t>
            </a:r>
          </a:p>
        </p:txBody>
      </p:sp>
      <p:sp>
        <p:nvSpPr>
          <p:cNvPr id="9" name="íšḻíḑê"/>
          <p:cNvSpPr/>
          <p:nvPr/>
        </p:nvSpPr>
        <p:spPr>
          <a:xfrm>
            <a:off x="1905511" y="1683528"/>
            <a:ext cx="7264247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FF0000"/>
                </a:solidFill>
              </a:rPr>
              <a:t>基本概念</a:t>
            </a:r>
          </a:p>
        </p:txBody>
      </p:sp>
      <p:sp>
        <p:nvSpPr>
          <p:cNvPr id="10" name="îSļiḓè"/>
          <p:cNvSpPr/>
          <p:nvPr/>
        </p:nvSpPr>
        <p:spPr>
          <a:xfrm>
            <a:off x="1222008" y="16699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1" name="íṥḻîḓe"/>
          <p:cNvSpPr/>
          <p:nvPr/>
        </p:nvSpPr>
        <p:spPr>
          <a:xfrm>
            <a:off x="1222008" y="4926421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/>
        </p:nvSpPr>
        <p:spPr>
          <a:xfrm>
            <a:off x="1222009" y="3536601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3" name="îṡḷíďe"/>
          <p:cNvSpPr/>
          <p:nvPr/>
        </p:nvSpPr>
        <p:spPr>
          <a:xfrm>
            <a:off x="1412263" y="1866104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/>
        </p:nvSpPr>
        <p:spPr>
          <a:xfrm>
            <a:off x="1412263" y="375861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/>
        </p:nvSpPr>
        <p:spPr>
          <a:xfrm>
            <a:off x="1441201" y="5115881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6" name="îs1iďé"/>
          <p:cNvSpPr/>
          <p:nvPr/>
        </p:nvSpPr>
        <p:spPr>
          <a:xfrm>
            <a:off x="6068983" y="2215200"/>
            <a:ext cx="4798205" cy="116937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应用“机制与策略分离”原理</a:t>
            </a:r>
          </a:p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采用面向对象技术</a:t>
            </a:r>
          </a:p>
        </p:txBody>
      </p:sp>
      <p:cxnSp>
        <p:nvCxnSpPr>
          <p:cNvPr id="3" name="直接连接符 2"/>
          <p:cNvCxnSpPr/>
          <p:nvPr/>
        </p:nvCxnSpPr>
        <p:spPr>
          <a:xfrm>
            <a:off x="1924568" y="3384574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/>
        </p:nvCxnSpPr>
        <p:spPr>
          <a:xfrm>
            <a:off x="1905511" y="478837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1924568" y="583156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微内核结构示意图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0646" y="2326322"/>
            <a:ext cx="11510645" cy="2205355"/>
          </a:xfrm>
          <a:prstGeom prst="rect">
            <a:avLst/>
          </a:prstGeom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54F41D80-38D8-2048-98C5-0C39FD50C367}"/>
              </a:ext>
            </a:extLst>
          </p:cNvPr>
          <p:cNvSpPr txBox="1"/>
          <p:nvPr/>
        </p:nvSpPr>
        <p:spPr>
          <a:xfrm>
            <a:off x="1068946" y="5016321"/>
            <a:ext cx="92534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</a:rPr>
              <a:t>客户和服务器之间借助微内核提供的消息传递机制实现信息交互。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B71FCF0-4D38-26A6-CD70-7AB99C57BAD7}"/>
              </a:ext>
            </a:extLst>
          </p:cNvPr>
          <p:cNvSpPr txBox="1"/>
          <p:nvPr/>
        </p:nvSpPr>
        <p:spPr>
          <a:xfrm>
            <a:off x="1068946" y="1478923"/>
            <a:ext cx="92534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</a:rPr>
              <a:t>把操作系统的大部分功能都放在微内核外面的一组服务器中实现。</a:t>
            </a: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微内核系统的优点和存在问题</a:t>
            </a:r>
          </a:p>
        </p:txBody>
      </p:sp>
      <p:sp>
        <p:nvSpPr>
          <p:cNvPr id="6" name="îṧľîdé"/>
          <p:cNvSpPr/>
          <p:nvPr/>
        </p:nvSpPr>
        <p:spPr>
          <a:xfrm>
            <a:off x="4021874" y="1444531"/>
            <a:ext cx="3550903" cy="2457767"/>
          </a:xfrm>
          <a:prstGeom prst="leftRightRibbon">
            <a:avLst>
              <a:gd name="adj1" fmla="val 50000"/>
              <a:gd name="adj2" fmla="val 50000"/>
              <a:gd name="adj3" fmla="val 33333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7" name="内容占位符 2"/>
          <p:cNvSpPr txBox="1"/>
          <p:nvPr/>
        </p:nvSpPr>
        <p:spPr>
          <a:xfrm>
            <a:off x="946219" y="1839430"/>
            <a:ext cx="4308362" cy="308426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580"/>
              </a:spcBef>
              <a:buNone/>
              <a:defRPr/>
            </a:pPr>
            <a:r>
              <a:rPr lang="zh-CN" altLang="en-US" sz="2400" dirty="0"/>
              <a:t>微内核系统</a:t>
            </a:r>
            <a:r>
              <a:rPr lang="zh-CN" altLang="en-US" sz="2400" dirty="0">
                <a:solidFill>
                  <a:srgbClr val="FF0000"/>
                </a:solidFill>
              </a:rPr>
              <a:t>优点：</a:t>
            </a:r>
            <a:endParaRPr lang="en-US" altLang="zh-CN" sz="2400" dirty="0"/>
          </a:p>
          <a:p>
            <a:pPr marL="342900" lvl="1" indent="-342900">
              <a:lnSpc>
                <a:spcPct val="150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提高了系统的可扩展性</a:t>
            </a:r>
          </a:p>
          <a:p>
            <a:pPr marL="342900" lvl="1" indent="-342900">
              <a:lnSpc>
                <a:spcPct val="150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增强了系统的可靠性</a:t>
            </a:r>
          </a:p>
          <a:p>
            <a:pPr marL="342900" lvl="1" indent="-342900">
              <a:lnSpc>
                <a:spcPct val="150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可移植性强</a:t>
            </a:r>
          </a:p>
          <a:p>
            <a:pPr marL="342900" lvl="1" indent="-342900">
              <a:lnSpc>
                <a:spcPct val="150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提供了对分布式系统的支持</a:t>
            </a:r>
          </a:p>
          <a:p>
            <a:pPr marL="342900" lvl="1" indent="-342900">
              <a:lnSpc>
                <a:spcPct val="150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融入了面向对象技术</a:t>
            </a:r>
          </a:p>
        </p:txBody>
      </p:sp>
      <p:sp>
        <p:nvSpPr>
          <p:cNvPr id="8" name="内容占位符 2"/>
          <p:cNvSpPr txBox="1"/>
          <p:nvPr/>
        </p:nvSpPr>
        <p:spPr>
          <a:xfrm>
            <a:off x="7807946" y="2584896"/>
            <a:ext cx="3551220" cy="263480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580"/>
              </a:spcBef>
              <a:buNone/>
              <a:defRPr/>
            </a:pPr>
            <a:r>
              <a:rPr lang="zh-CN" altLang="en-US" sz="2400" dirty="0"/>
              <a:t>微内核系统</a:t>
            </a:r>
            <a:r>
              <a:rPr lang="zh-CN" altLang="en-US" sz="2400" dirty="0">
                <a:solidFill>
                  <a:srgbClr val="FF0000"/>
                </a:solidFill>
              </a:rPr>
              <a:t>存在的问题：</a:t>
            </a:r>
            <a:endParaRPr lang="en-US" altLang="zh-CN" sz="2400" dirty="0"/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运行效率有所降低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主要原因：在完成一次客户对操作系统提出的服务请求时，需要利用消息实现多次交互和进行用户</a:t>
            </a:r>
            <a:r>
              <a:rPr lang="en-US" altLang="zh-CN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/</a:t>
            </a: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内核模型与上下文的多次切换</a:t>
            </a:r>
          </a:p>
        </p:txBody>
      </p:sp>
      <p:sp>
        <p:nvSpPr>
          <p:cNvPr id="9" name="íSľïdé"/>
          <p:cNvSpPr/>
          <p:nvPr/>
        </p:nvSpPr>
        <p:spPr>
          <a:xfrm>
            <a:off x="4919214" y="1879387"/>
            <a:ext cx="567702" cy="51193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200" kern="1200"/>
          </a:p>
        </p:txBody>
      </p:sp>
      <p:sp>
        <p:nvSpPr>
          <p:cNvPr id="10" name="ïŝļíḓê"/>
          <p:cNvSpPr/>
          <p:nvPr/>
        </p:nvSpPr>
        <p:spPr bwMode="auto">
          <a:xfrm>
            <a:off x="6001738" y="2827961"/>
            <a:ext cx="556774" cy="553604"/>
          </a:xfrm>
          <a:custGeom>
            <a:avLst/>
            <a:gdLst>
              <a:gd name="T0" fmla="*/ 3682 w 4808"/>
              <a:gd name="T1" fmla="*/ 2763 h 4789"/>
              <a:gd name="T2" fmla="*/ 3420 w 4808"/>
              <a:gd name="T3" fmla="*/ 2703 h 4789"/>
              <a:gd name="T4" fmla="*/ 3026 w 4808"/>
              <a:gd name="T5" fmla="*/ 2392 h 4789"/>
              <a:gd name="T6" fmla="*/ 2818 w 4808"/>
              <a:gd name="T7" fmla="*/ 2517 h 4789"/>
              <a:gd name="T8" fmla="*/ 3219 w 4808"/>
              <a:gd name="T9" fmla="*/ 1876 h 4789"/>
              <a:gd name="T10" fmla="*/ 3609 w 4808"/>
              <a:gd name="T11" fmla="*/ 1953 h 4789"/>
              <a:gd name="T12" fmla="*/ 4553 w 4808"/>
              <a:gd name="T13" fmla="*/ 720 h 4789"/>
              <a:gd name="T14" fmla="*/ 4388 w 4808"/>
              <a:gd name="T15" fmla="*/ 680 h 4789"/>
              <a:gd name="T16" fmla="*/ 3872 w 4808"/>
              <a:gd name="T17" fmla="*/ 1161 h 4789"/>
              <a:gd name="T18" fmla="*/ 3859 w 4808"/>
              <a:gd name="T19" fmla="*/ 1160 h 4789"/>
              <a:gd name="T20" fmla="*/ 3491 w 4808"/>
              <a:gd name="T21" fmla="*/ 1099 h 4789"/>
              <a:gd name="T22" fmla="*/ 3432 w 4808"/>
              <a:gd name="T23" fmla="*/ 731 h 4789"/>
              <a:gd name="T24" fmla="*/ 3454 w 4808"/>
              <a:gd name="T25" fmla="*/ 658 h 4789"/>
              <a:gd name="T26" fmla="*/ 3938 w 4808"/>
              <a:gd name="T27" fmla="*/ 104 h 4789"/>
              <a:gd name="T28" fmla="*/ 3609 w 4808"/>
              <a:gd name="T29" fmla="*/ 0 h 4789"/>
              <a:gd name="T30" fmla="*/ 2710 w 4808"/>
              <a:gd name="T31" fmla="*/ 1369 h 4789"/>
              <a:gd name="T32" fmla="*/ 1300 w 4808"/>
              <a:gd name="T33" fmla="*/ 999 h 4789"/>
              <a:gd name="T34" fmla="*/ 1309 w 4808"/>
              <a:gd name="T35" fmla="*/ 892 h 4789"/>
              <a:gd name="T36" fmla="*/ 865 w 4808"/>
              <a:gd name="T37" fmla="*/ 294 h 4789"/>
              <a:gd name="T38" fmla="*/ 665 w 4808"/>
              <a:gd name="T39" fmla="*/ 298 h 4789"/>
              <a:gd name="T40" fmla="*/ 278 w 4808"/>
              <a:gd name="T41" fmla="*/ 787 h 4789"/>
              <a:gd name="T42" fmla="*/ 630 w 4808"/>
              <a:gd name="T43" fmla="*/ 1163 h 4789"/>
              <a:gd name="T44" fmla="*/ 926 w 4808"/>
              <a:gd name="T45" fmla="*/ 1291 h 4789"/>
              <a:gd name="T46" fmla="*/ 1018 w 4808"/>
              <a:gd name="T47" fmla="*/ 1282 h 4789"/>
              <a:gd name="T48" fmla="*/ 1485 w 4808"/>
              <a:gd name="T49" fmla="*/ 2594 h 4789"/>
              <a:gd name="T50" fmla="*/ 1037 w 4808"/>
              <a:gd name="T51" fmla="*/ 2572 h 4789"/>
              <a:gd name="T52" fmla="*/ 92 w 4808"/>
              <a:gd name="T53" fmla="*/ 3809 h 4789"/>
              <a:gd name="T54" fmla="*/ 186 w 4808"/>
              <a:gd name="T55" fmla="*/ 3882 h 4789"/>
              <a:gd name="T56" fmla="*/ 727 w 4808"/>
              <a:gd name="T57" fmla="*/ 3384 h 4789"/>
              <a:gd name="T58" fmla="*/ 789 w 4808"/>
              <a:gd name="T59" fmla="*/ 3371 h 4789"/>
              <a:gd name="T60" fmla="*/ 796 w 4808"/>
              <a:gd name="T61" fmla="*/ 3372 h 4789"/>
              <a:gd name="T62" fmla="*/ 1218 w 4808"/>
              <a:gd name="T63" fmla="*/ 3798 h 4789"/>
              <a:gd name="T64" fmla="*/ 1192 w 4808"/>
              <a:gd name="T65" fmla="*/ 3873 h 4789"/>
              <a:gd name="T66" fmla="*/ 707 w 4808"/>
              <a:gd name="T67" fmla="*/ 4427 h 4789"/>
              <a:gd name="T68" fmla="*/ 1037 w 4808"/>
              <a:gd name="T69" fmla="*/ 4531 h 4789"/>
              <a:gd name="T70" fmla="*/ 2016 w 4808"/>
              <a:gd name="T71" fmla="*/ 3551 h 4789"/>
              <a:gd name="T72" fmla="*/ 1994 w 4808"/>
              <a:gd name="T73" fmla="*/ 3103 h 4789"/>
              <a:gd name="T74" fmla="*/ 2535 w 4808"/>
              <a:gd name="T75" fmla="*/ 2799 h 4789"/>
              <a:gd name="T76" fmla="*/ 2410 w 4808"/>
              <a:gd name="T77" fmla="*/ 3007 h 4789"/>
              <a:gd name="T78" fmla="*/ 2721 w 4808"/>
              <a:gd name="T79" fmla="*/ 3401 h 4789"/>
              <a:gd name="T80" fmla="*/ 2781 w 4808"/>
              <a:gd name="T81" fmla="*/ 3663 h 4789"/>
              <a:gd name="T82" fmla="*/ 4013 w 4808"/>
              <a:gd name="T83" fmla="*/ 4789 h 4789"/>
              <a:gd name="T84" fmla="*/ 4734 w 4808"/>
              <a:gd name="T85" fmla="*/ 4173 h 4789"/>
              <a:gd name="T86" fmla="*/ 4734 w 4808"/>
              <a:gd name="T87" fmla="*/ 3815 h 4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808" h="4789">
                <a:moveTo>
                  <a:pt x="4734" y="3815"/>
                </a:moveTo>
                <a:lnTo>
                  <a:pt x="3682" y="2763"/>
                </a:lnTo>
                <a:cubicBezTo>
                  <a:pt x="3634" y="2715"/>
                  <a:pt x="3570" y="2689"/>
                  <a:pt x="3502" y="2689"/>
                </a:cubicBezTo>
                <a:cubicBezTo>
                  <a:pt x="3474" y="2689"/>
                  <a:pt x="3446" y="2694"/>
                  <a:pt x="3420" y="2703"/>
                </a:cubicBezTo>
                <a:lnTo>
                  <a:pt x="3167" y="2450"/>
                </a:lnTo>
                <a:cubicBezTo>
                  <a:pt x="3130" y="2413"/>
                  <a:pt x="3079" y="2392"/>
                  <a:pt x="3026" y="2392"/>
                </a:cubicBezTo>
                <a:cubicBezTo>
                  <a:pt x="2972" y="2392"/>
                  <a:pt x="2922" y="2413"/>
                  <a:pt x="2884" y="2450"/>
                </a:cubicBezTo>
                <a:lnTo>
                  <a:pt x="2818" y="2517"/>
                </a:lnTo>
                <a:lnTo>
                  <a:pt x="2699" y="2398"/>
                </a:lnTo>
                <a:lnTo>
                  <a:pt x="3219" y="1876"/>
                </a:lnTo>
                <a:cubicBezTo>
                  <a:pt x="3340" y="1928"/>
                  <a:pt x="3472" y="1953"/>
                  <a:pt x="3609" y="1953"/>
                </a:cubicBezTo>
                <a:lnTo>
                  <a:pt x="3609" y="1953"/>
                </a:lnTo>
                <a:cubicBezTo>
                  <a:pt x="3870" y="1953"/>
                  <a:pt x="4116" y="1854"/>
                  <a:pt x="4301" y="1669"/>
                </a:cubicBezTo>
                <a:cubicBezTo>
                  <a:pt x="4549" y="1421"/>
                  <a:pt x="4646" y="1059"/>
                  <a:pt x="4553" y="720"/>
                </a:cubicBezTo>
                <a:cubicBezTo>
                  <a:pt x="4542" y="678"/>
                  <a:pt x="4502" y="648"/>
                  <a:pt x="4459" y="648"/>
                </a:cubicBezTo>
                <a:cubicBezTo>
                  <a:pt x="4441" y="648"/>
                  <a:pt x="4413" y="654"/>
                  <a:pt x="4388" y="680"/>
                </a:cubicBezTo>
                <a:cubicBezTo>
                  <a:pt x="4384" y="683"/>
                  <a:pt x="4034" y="1030"/>
                  <a:pt x="3918" y="1146"/>
                </a:cubicBezTo>
                <a:cubicBezTo>
                  <a:pt x="3906" y="1159"/>
                  <a:pt x="3885" y="1161"/>
                  <a:pt x="3872" y="1161"/>
                </a:cubicBezTo>
                <a:cubicBezTo>
                  <a:pt x="3864" y="1161"/>
                  <a:pt x="3859" y="1160"/>
                  <a:pt x="3859" y="1160"/>
                </a:cubicBezTo>
                <a:lnTo>
                  <a:pt x="3859" y="1160"/>
                </a:lnTo>
                <a:lnTo>
                  <a:pt x="3851" y="1159"/>
                </a:lnTo>
                <a:cubicBezTo>
                  <a:pt x="3707" y="1146"/>
                  <a:pt x="3535" y="1119"/>
                  <a:pt x="3491" y="1099"/>
                </a:cubicBezTo>
                <a:cubicBezTo>
                  <a:pt x="3470" y="1055"/>
                  <a:pt x="3445" y="879"/>
                  <a:pt x="3432" y="733"/>
                </a:cubicBezTo>
                <a:lnTo>
                  <a:pt x="3432" y="731"/>
                </a:lnTo>
                <a:lnTo>
                  <a:pt x="3429" y="727"/>
                </a:lnTo>
                <a:cubicBezTo>
                  <a:pt x="3428" y="720"/>
                  <a:pt x="3425" y="687"/>
                  <a:pt x="3454" y="658"/>
                </a:cubicBezTo>
                <a:cubicBezTo>
                  <a:pt x="3574" y="538"/>
                  <a:pt x="3905" y="204"/>
                  <a:pt x="3908" y="201"/>
                </a:cubicBezTo>
                <a:cubicBezTo>
                  <a:pt x="3936" y="173"/>
                  <a:pt x="3947" y="138"/>
                  <a:pt x="3938" y="104"/>
                </a:cubicBezTo>
                <a:cubicBezTo>
                  <a:pt x="3927" y="64"/>
                  <a:pt x="3893" y="42"/>
                  <a:pt x="3865" y="34"/>
                </a:cubicBezTo>
                <a:cubicBezTo>
                  <a:pt x="3782" y="11"/>
                  <a:pt x="3695" y="0"/>
                  <a:pt x="3609" y="0"/>
                </a:cubicBezTo>
                <a:cubicBezTo>
                  <a:pt x="3347" y="0"/>
                  <a:pt x="3101" y="102"/>
                  <a:pt x="2916" y="287"/>
                </a:cubicBezTo>
                <a:cubicBezTo>
                  <a:pt x="2624" y="579"/>
                  <a:pt x="2555" y="1011"/>
                  <a:pt x="2710" y="1369"/>
                </a:cubicBezTo>
                <a:lnTo>
                  <a:pt x="2190" y="1889"/>
                </a:lnTo>
                <a:lnTo>
                  <a:pt x="1300" y="999"/>
                </a:lnTo>
                <a:cubicBezTo>
                  <a:pt x="1300" y="998"/>
                  <a:pt x="1299" y="998"/>
                  <a:pt x="1299" y="997"/>
                </a:cubicBezTo>
                <a:cubicBezTo>
                  <a:pt x="1307" y="963"/>
                  <a:pt x="1311" y="928"/>
                  <a:pt x="1309" y="892"/>
                </a:cubicBezTo>
                <a:cubicBezTo>
                  <a:pt x="1305" y="788"/>
                  <a:pt x="1260" y="689"/>
                  <a:pt x="1182" y="611"/>
                </a:cubicBezTo>
                <a:lnTo>
                  <a:pt x="865" y="294"/>
                </a:lnTo>
                <a:cubicBezTo>
                  <a:pt x="858" y="288"/>
                  <a:pt x="821" y="253"/>
                  <a:pt x="766" y="253"/>
                </a:cubicBezTo>
                <a:cubicBezTo>
                  <a:pt x="740" y="253"/>
                  <a:pt x="702" y="261"/>
                  <a:pt x="665" y="298"/>
                </a:cubicBezTo>
                <a:lnTo>
                  <a:pt x="318" y="645"/>
                </a:lnTo>
                <a:cubicBezTo>
                  <a:pt x="277" y="685"/>
                  <a:pt x="263" y="737"/>
                  <a:pt x="278" y="787"/>
                </a:cubicBezTo>
                <a:cubicBezTo>
                  <a:pt x="288" y="820"/>
                  <a:pt x="308" y="842"/>
                  <a:pt x="314" y="848"/>
                </a:cubicBezTo>
                <a:lnTo>
                  <a:pt x="630" y="1163"/>
                </a:lnTo>
                <a:cubicBezTo>
                  <a:pt x="712" y="1246"/>
                  <a:pt x="817" y="1291"/>
                  <a:pt x="926" y="1291"/>
                </a:cubicBezTo>
                <a:lnTo>
                  <a:pt x="926" y="1291"/>
                </a:lnTo>
                <a:cubicBezTo>
                  <a:pt x="957" y="1291"/>
                  <a:pt x="987" y="1287"/>
                  <a:pt x="1016" y="1280"/>
                </a:cubicBezTo>
                <a:cubicBezTo>
                  <a:pt x="1017" y="1281"/>
                  <a:pt x="1017" y="1281"/>
                  <a:pt x="1018" y="1282"/>
                </a:cubicBezTo>
                <a:lnTo>
                  <a:pt x="1907" y="2171"/>
                </a:lnTo>
                <a:lnTo>
                  <a:pt x="1485" y="2594"/>
                </a:lnTo>
                <a:cubicBezTo>
                  <a:pt x="1466" y="2613"/>
                  <a:pt x="1449" y="2634"/>
                  <a:pt x="1435" y="2656"/>
                </a:cubicBezTo>
                <a:cubicBezTo>
                  <a:pt x="1311" y="2601"/>
                  <a:pt x="1176" y="2572"/>
                  <a:pt x="1037" y="2572"/>
                </a:cubicBezTo>
                <a:cubicBezTo>
                  <a:pt x="775" y="2572"/>
                  <a:pt x="529" y="2674"/>
                  <a:pt x="344" y="2859"/>
                </a:cubicBezTo>
                <a:cubicBezTo>
                  <a:pt x="96" y="3106"/>
                  <a:pt x="0" y="3471"/>
                  <a:pt x="92" y="3809"/>
                </a:cubicBezTo>
                <a:cubicBezTo>
                  <a:pt x="103" y="3852"/>
                  <a:pt x="143" y="3882"/>
                  <a:pt x="186" y="3882"/>
                </a:cubicBezTo>
                <a:lnTo>
                  <a:pt x="186" y="3882"/>
                </a:lnTo>
                <a:cubicBezTo>
                  <a:pt x="204" y="3882"/>
                  <a:pt x="232" y="3877"/>
                  <a:pt x="258" y="3851"/>
                </a:cubicBezTo>
                <a:cubicBezTo>
                  <a:pt x="261" y="3847"/>
                  <a:pt x="611" y="3500"/>
                  <a:pt x="727" y="3384"/>
                </a:cubicBezTo>
                <a:cubicBezTo>
                  <a:pt x="740" y="3372"/>
                  <a:pt x="762" y="3370"/>
                  <a:pt x="774" y="3370"/>
                </a:cubicBezTo>
                <a:cubicBezTo>
                  <a:pt x="783" y="3370"/>
                  <a:pt x="789" y="3371"/>
                  <a:pt x="789" y="3371"/>
                </a:cubicBezTo>
                <a:lnTo>
                  <a:pt x="789" y="3371"/>
                </a:lnTo>
                <a:lnTo>
                  <a:pt x="796" y="3372"/>
                </a:lnTo>
                <a:cubicBezTo>
                  <a:pt x="940" y="3385"/>
                  <a:pt x="1113" y="3411"/>
                  <a:pt x="1157" y="3431"/>
                </a:cubicBezTo>
                <a:cubicBezTo>
                  <a:pt x="1178" y="3475"/>
                  <a:pt x="1205" y="3652"/>
                  <a:pt x="1218" y="3798"/>
                </a:cubicBezTo>
                <a:lnTo>
                  <a:pt x="1219" y="3805"/>
                </a:lnTo>
                <a:cubicBezTo>
                  <a:pt x="1219" y="3805"/>
                  <a:pt x="1223" y="3842"/>
                  <a:pt x="1192" y="3873"/>
                </a:cubicBezTo>
                <a:cubicBezTo>
                  <a:pt x="1072" y="3993"/>
                  <a:pt x="741" y="4327"/>
                  <a:pt x="738" y="4330"/>
                </a:cubicBezTo>
                <a:cubicBezTo>
                  <a:pt x="710" y="4358"/>
                  <a:pt x="699" y="4393"/>
                  <a:pt x="707" y="4427"/>
                </a:cubicBezTo>
                <a:cubicBezTo>
                  <a:pt x="718" y="4467"/>
                  <a:pt x="752" y="4489"/>
                  <a:pt x="780" y="4497"/>
                </a:cubicBezTo>
                <a:cubicBezTo>
                  <a:pt x="864" y="4519"/>
                  <a:pt x="950" y="4531"/>
                  <a:pt x="1037" y="4531"/>
                </a:cubicBezTo>
                <a:cubicBezTo>
                  <a:pt x="1298" y="4531"/>
                  <a:pt x="1544" y="4429"/>
                  <a:pt x="1729" y="4244"/>
                </a:cubicBezTo>
                <a:cubicBezTo>
                  <a:pt x="1914" y="4059"/>
                  <a:pt x="2016" y="3813"/>
                  <a:pt x="2016" y="3551"/>
                </a:cubicBezTo>
                <a:cubicBezTo>
                  <a:pt x="2016" y="3412"/>
                  <a:pt x="1987" y="3277"/>
                  <a:pt x="1932" y="3153"/>
                </a:cubicBezTo>
                <a:cubicBezTo>
                  <a:pt x="1954" y="3139"/>
                  <a:pt x="1975" y="3122"/>
                  <a:pt x="1994" y="3103"/>
                </a:cubicBezTo>
                <a:lnTo>
                  <a:pt x="2417" y="2681"/>
                </a:lnTo>
                <a:lnTo>
                  <a:pt x="2535" y="2799"/>
                </a:lnTo>
                <a:lnTo>
                  <a:pt x="2469" y="2866"/>
                </a:lnTo>
                <a:cubicBezTo>
                  <a:pt x="2431" y="2904"/>
                  <a:pt x="2410" y="2954"/>
                  <a:pt x="2410" y="3007"/>
                </a:cubicBezTo>
                <a:cubicBezTo>
                  <a:pt x="2410" y="3061"/>
                  <a:pt x="2431" y="3111"/>
                  <a:pt x="2469" y="3149"/>
                </a:cubicBezTo>
                <a:lnTo>
                  <a:pt x="2721" y="3401"/>
                </a:lnTo>
                <a:cubicBezTo>
                  <a:pt x="2712" y="3427"/>
                  <a:pt x="2707" y="3455"/>
                  <a:pt x="2707" y="3484"/>
                </a:cubicBezTo>
                <a:cubicBezTo>
                  <a:pt x="2707" y="3552"/>
                  <a:pt x="2734" y="3615"/>
                  <a:pt x="2781" y="3663"/>
                </a:cubicBezTo>
                <a:lnTo>
                  <a:pt x="3834" y="4715"/>
                </a:lnTo>
                <a:cubicBezTo>
                  <a:pt x="3881" y="4763"/>
                  <a:pt x="3945" y="4789"/>
                  <a:pt x="4013" y="4789"/>
                </a:cubicBezTo>
                <a:cubicBezTo>
                  <a:pt x="4081" y="4789"/>
                  <a:pt x="4144" y="4763"/>
                  <a:pt x="4192" y="4715"/>
                </a:cubicBezTo>
                <a:lnTo>
                  <a:pt x="4734" y="4173"/>
                </a:lnTo>
                <a:cubicBezTo>
                  <a:pt x="4782" y="4126"/>
                  <a:pt x="4808" y="4062"/>
                  <a:pt x="4808" y="3994"/>
                </a:cubicBezTo>
                <a:cubicBezTo>
                  <a:pt x="4808" y="3926"/>
                  <a:pt x="4782" y="3863"/>
                  <a:pt x="4734" y="38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微内核系统的优点和存在问题</a:t>
            </a:r>
          </a:p>
        </p:txBody>
      </p:sp>
      <p:sp>
        <p:nvSpPr>
          <p:cNvPr id="9" name="íSľïdé"/>
          <p:cNvSpPr/>
          <p:nvPr/>
        </p:nvSpPr>
        <p:spPr>
          <a:xfrm>
            <a:off x="4919214" y="1879387"/>
            <a:ext cx="567702" cy="51193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200" kern="1200"/>
          </a:p>
        </p:txBody>
      </p:sp>
      <p:sp>
        <p:nvSpPr>
          <p:cNvPr id="10" name="ïŝļíḓê"/>
          <p:cNvSpPr/>
          <p:nvPr/>
        </p:nvSpPr>
        <p:spPr bwMode="auto">
          <a:xfrm>
            <a:off x="6001738" y="2827961"/>
            <a:ext cx="556774" cy="553604"/>
          </a:xfrm>
          <a:custGeom>
            <a:avLst/>
            <a:gdLst>
              <a:gd name="T0" fmla="*/ 3682 w 4808"/>
              <a:gd name="T1" fmla="*/ 2763 h 4789"/>
              <a:gd name="T2" fmla="*/ 3420 w 4808"/>
              <a:gd name="T3" fmla="*/ 2703 h 4789"/>
              <a:gd name="T4" fmla="*/ 3026 w 4808"/>
              <a:gd name="T5" fmla="*/ 2392 h 4789"/>
              <a:gd name="T6" fmla="*/ 2818 w 4808"/>
              <a:gd name="T7" fmla="*/ 2517 h 4789"/>
              <a:gd name="T8" fmla="*/ 3219 w 4808"/>
              <a:gd name="T9" fmla="*/ 1876 h 4789"/>
              <a:gd name="T10" fmla="*/ 3609 w 4808"/>
              <a:gd name="T11" fmla="*/ 1953 h 4789"/>
              <a:gd name="T12" fmla="*/ 4553 w 4808"/>
              <a:gd name="T13" fmla="*/ 720 h 4789"/>
              <a:gd name="T14" fmla="*/ 4388 w 4808"/>
              <a:gd name="T15" fmla="*/ 680 h 4789"/>
              <a:gd name="T16" fmla="*/ 3872 w 4808"/>
              <a:gd name="T17" fmla="*/ 1161 h 4789"/>
              <a:gd name="T18" fmla="*/ 3859 w 4808"/>
              <a:gd name="T19" fmla="*/ 1160 h 4789"/>
              <a:gd name="T20" fmla="*/ 3491 w 4808"/>
              <a:gd name="T21" fmla="*/ 1099 h 4789"/>
              <a:gd name="T22" fmla="*/ 3432 w 4808"/>
              <a:gd name="T23" fmla="*/ 731 h 4789"/>
              <a:gd name="T24" fmla="*/ 3454 w 4808"/>
              <a:gd name="T25" fmla="*/ 658 h 4789"/>
              <a:gd name="T26" fmla="*/ 3938 w 4808"/>
              <a:gd name="T27" fmla="*/ 104 h 4789"/>
              <a:gd name="T28" fmla="*/ 3609 w 4808"/>
              <a:gd name="T29" fmla="*/ 0 h 4789"/>
              <a:gd name="T30" fmla="*/ 2710 w 4808"/>
              <a:gd name="T31" fmla="*/ 1369 h 4789"/>
              <a:gd name="T32" fmla="*/ 1300 w 4808"/>
              <a:gd name="T33" fmla="*/ 999 h 4789"/>
              <a:gd name="T34" fmla="*/ 1309 w 4808"/>
              <a:gd name="T35" fmla="*/ 892 h 4789"/>
              <a:gd name="T36" fmla="*/ 865 w 4808"/>
              <a:gd name="T37" fmla="*/ 294 h 4789"/>
              <a:gd name="T38" fmla="*/ 665 w 4808"/>
              <a:gd name="T39" fmla="*/ 298 h 4789"/>
              <a:gd name="T40" fmla="*/ 278 w 4808"/>
              <a:gd name="T41" fmla="*/ 787 h 4789"/>
              <a:gd name="T42" fmla="*/ 630 w 4808"/>
              <a:gd name="T43" fmla="*/ 1163 h 4789"/>
              <a:gd name="T44" fmla="*/ 926 w 4808"/>
              <a:gd name="T45" fmla="*/ 1291 h 4789"/>
              <a:gd name="T46" fmla="*/ 1018 w 4808"/>
              <a:gd name="T47" fmla="*/ 1282 h 4789"/>
              <a:gd name="T48" fmla="*/ 1485 w 4808"/>
              <a:gd name="T49" fmla="*/ 2594 h 4789"/>
              <a:gd name="T50" fmla="*/ 1037 w 4808"/>
              <a:gd name="T51" fmla="*/ 2572 h 4789"/>
              <a:gd name="T52" fmla="*/ 92 w 4808"/>
              <a:gd name="T53" fmla="*/ 3809 h 4789"/>
              <a:gd name="T54" fmla="*/ 186 w 4808"/>
              <a:gd name="T55" fmla="*/ 3882 h 4789"/>
              <a:gd name="T56" fmla="*/ 727 w 4808"/>
              <a:gd name="T57" fmla="*/ 3384 h 4789"/>
              <a:gd name="T58" fmla="*/ 789 w 4808"/>
              <a:gd name="T59" fmla="*/ 3371 h 4789"/>
              <a:gd name="T60" fmla="*/ 796 w 4808"/>
              <a:gd name="T61" fmla="*/ 3372 h 4789"/>
              <a:gd name="T62" fmla="*/ 1218 w 4808"/>
              <a:gd name="T63" fmla="*/ 3798 h 4789"/>
              <a:gd name="T64" fmla="*/ 1192 w 4808"/>
              <a:gd name="T65" fmla="*/ 3873 h 4789"/>
              <a:gd name="T66" fmla="*/ 707 w 4808"/>
              <a:gd name="T67" fmla="*/ 4427 h 4789"/>
              <a:gd name="T68" fmla="*/ 1037 w 4808"/>
              <a:gd name="T69" fmla="*/ 4531 h 4789"/>
              <a:gd name="T70" fmla="*/ 2016 w 4808"/>
              <a:gd name="T71" fmla="*/ 3551 h 4789"/>
              <a:gd name="T72" fmla="*/ 1994 w 4808"/>
              <a:gd name="T73" fmla="*/ 3103 h 4789"/>
              <a:gd name="T74" fmla="*/ 2535 w 4808"/>
              <a:gd name="T75" fmla="*/ 2799 h 4789"/>
              <a:gd name="T76" fmla="*/ 2410 w 4808"/>
              <a:gd name="T77" fmla="*/ 3007 h 4789"/>
              <a:gd name="T78" fmla="*/ 2721 w 4808"/>
              <a:gd name="T79" fmla="*/ 3401 h 4789"/>
              <a:gd name="T80" fmla="*/ 2781 w 4808"/>
              <a:gd name="T81" fmla="*/ 3663 h 4789"/>
              <a:gd name="T82" fmla="*/ 4013 w 4808"/>
              <a:gd name="T83" fmla="*/ 4789 h 4789"/>
              <a:gd name="T84" fmla="*/ 4734 w 4808"/>
              <a:gd name="T85" fmla="*/ 4173 h 4789"/>
              <a:gd name="T86" fmla="*/ 4734 w 4808"/>
              <a:gd name="T87" fmla="*/ 3815 h 4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808" h="4789">
                <a:moveTo>
                  <a:pt x="4734" y="3815"/>
                </a:moveTo>
                <a:lnTo>
                  <a:pt x="3682" y="2763"/>
                </a:lnTo>
                <a:cubicBezTo>
                  <a:pt x="3634" y="2715"/>
                  <a:pt x="3570" y="2689"/>
                  <a:pt x="3502" y="2689"/>
                </a:cubicBezTo>
                <a:cubicBezTo>
                  <a:pt x="3474" y="2689"/>
                  <a:pt x="3446" y="2694"/>
                  <a:pt x="3420" y="2703"/>
                </a:cubicBezTo>
                <a:lnTo>
                  <a:pt x="3167" y="2450"/>
                </a:lnTo>
                <a:cubicBezTo>
                  <a:pt x="3130" y="2413"/>
                  <a:pt x="3079" y="2392"/>
                  <a:pt x="3026" y="2392"/>
                </a:cubicBezTo>
                <a:cubicBezTo>
                  <a:pt x="2972" y="2392"/>
                  <a:pt x="2922" y="2413"/>
                  <a:pt x="2884" y="2450"/>
                </a:cubicBezTo>
                <a:lnTo>
                  <a:pt x="2818" y="2517"/>
                </a:lnTo>
                <a:lnTo>
                  <a:pt x="2699" y="2398"/>
                </a:lnTo>
                <a:lnTo>
                  <a:pt x="3219" y="1876"/>
                </a:lnTo>
                <a:cubicBezTo>
                  <a:pt x="3340" y="1928"/>
                  <a:pt x="3472" y="1953"/>
                  <a:pt x="3609" y="1953"/>
                </a:cubicBezTo>
                <a:lnTo>
                  <a:pt x="3609" y="1953"/>
                </a:lnTo>
                <a:cubicBezTo>
                  <a:pt x="3870" y="1953"/>
                  <a:pt x="4116" y="1854"/>
                  <a:pt x="4301" y="1669"/>
                </a:cubicBezTo>
                <a:cubicBezTo>
                  <a:pt x="4549" y="1421"/>
                  <a:pt x="4646" y="1059"/>
                  <a:pt x="4553" y="720"/>
                </a:cubicBezTo>
                <a:cubicBezTo>
                  <a:pt x="4542" y="678"/>
                  <a:pt x="4502" y="648"/>
                  <a:pt x="4459" y="648"/>
                </a:cubicBezTo>
                <a:cubicBezTo>
                  <a:pt x="4441" y="648"/>
                  <a:pt x="4413" y="654"/>
                  <a:pt x="4388" y="680"/>
                </a:cubicBezTo>
                <a:cubicBezTo>
                  <a:pt x="4384" y="683"/>
                  <a:pt x="4034" y="1030"/>
                  <a:pt x="3918" y="1146"/>
                </a:cubicBezTo>
                <a:cubicBezTo>
                  <a:pt x="3906" y="1159"/>
                  <a:pt x="3885" y="1161"/>
                  <a:pt x="3872" y="1161"/>
                </a:cubicBezTo>
                <a:cubicBezTo>
                  <a:pt x="3864" y="1161"/>
                  <a:pt x="3859" y="1160"/>
                  <a:pt x="3859" y="1160"/>
                </a:cubicBezTo>
                <a:lnTo>
                  <a:pt x="3859" y="1160"/>
                </a:lnTo>
                <a:lnTo>
                  <a:pt x="3851" y="1159"/>
                </a:lnTo>
                <a:cubicBezTo>
                  <a:pt x="3707" y="1146"/>
                  <a:pt x="3535" y="1119"/>
                  <a:pt x="3491" y="1099"/>
                </a:cubicBezTo>
                <a:cubicBezTo>
                  <a:pt x="3470" y="1055"/>
                  <a:pt x="3445" y="879"/>
                  <a:pt x="3432" y="733"/>
                </a:cubicBezTo>
                <a:lnTo>
                  <a:pt x="3432" y="731"/>
                </a:lnTo>
                <a:lnTo>
                  <a:pt x="3429" y="727"/>
                </a:lnTo>
                <a:cubicBezTo>
                  <a:pt x="3428" y="720"/>
                  <a:pt x="3425" y="687"/>
                  <a:pt x="3454" y="658"/>
                </a:cubicBezTo>
                <a:cubicBezTo>
                  <a:pt x="3574" y="538"/>
                  <a:pt x="3905" y="204"/>
                  <a:pt x="3908" y="201"/>
                </a:cubicBezTo>
                <a:cubicBezTo>
                  <a:pt x="3936" y="173"/>
                  <a:pt x="3947" y="138"/>
                  <a:pt x="3938" y="104"/>
                </a:cubicBezTo>
                <a:cubicBezTo>
                  <a:pt x="3927" y="64"/>
                  <a:pt x="3893" y="42"/>
                  <a:pt x="3865" y="34"/>
                </a:cubicBezTo>
                <a:cubicBezTo>
                  <a:pt x="3782" y="11"/>
                  <a:pt x="3695" y="0"/>
                  <a:pt x="3609" y="0"/>
                </a:cubicBezTo>
                <a:cubicBezTo>
                  <a:pt x="3347" y="0"/>
                  <a:pt x="3101" y="102"/>
                  <a:pt x="2916" y="287"/>
                </a:cubicBezTo>
                <a:cubicBezTo>
                  <a:pt x="2624" y="579"/>
                  <a:pt x="2555" y="1011"/>
                  <a:pt x="2710" y="1369"/>
                </a:cubicBezTo>
                <a:lnTo>
                  <a:pt x="2190" y="1889"/>
                </a:lnTo>
                <a:lnTo>
                  <a:pt x="1300" y="999"/>
                </a:lnTo>
                <a:cubicBezTo>
                  <a:pt x="1300" y="998"/>
                  <a:pt x="1299" y="998"/>
                  <a:pt x="1299" y="997"/>
                </a:cubicBezTo>
                <a:cubicBezTo>
                  <a:pt x="1307" y="963"/>
                  <a:pt x="1311" y="928"/>
                  <a:pt x="1309" y="892"/>
                </a:cubicBezTo>
                <a:cubicBezTo>
                  <a:pt x="1305" y="788"/>
                  <a:pt x="1260" y="689"/>
                  <a:pt x="1182" y="611"/>
                </a:cubicBezTo>
                <a:lnTo>
                  <a:pt x="865" y="294"/>
                </a:lnTo>
                <a:cubicBezTo>
                  <a:pt x="858" y="288"/>
                  <a:pt x="821" y="253"/>
                  <a:pt x="766" y="253"/>
                </a:cubicBezTo>
                <a:cubicBezTo>
                  <a:pt x="740" y="253"/>
                  <a:pt x="702" y="261"/>
                  <a:pt x="665" y="298"/>
                </a:cubicBezTo>
                <a:lnTo>
                  <a:pt x="318" y="645"/>
                </a:lnTo>
                <a:cubicBezTo>
                  <a:pt x="277" y="685"/>
                  <a:pt x="263" y="737"/>
                  <a:pt x="278" y="787"/>
                </a:cubicBezTo>
                <a:cubicBezTo>
                  <a:pt x="288" y="820"/>
                  <a:pt x="308" y="842"/>
                  <a:pt x="314" y="848"/>
                </a:cubicBezTo>
                <a:lnTo>
                  <a:pt x="630" y="1163"/>
                </a:lnTo>
                <a:cubicBezTo>
                  <a:pt x="712" y="1246"/>
                  <a:pt x="817" y="1291"/>
                  <a:pt x="926" y="1291"/>
                </a:cubicBezTo>
                <a:lnTo>
                  <a:pt x="926" y="1291"/>
                </a:lnTo>
                <a:cubicBezTo>
                  <a:pt x="957" y="1291"/>
                  <a:pt x="987" y="1287"/>
                  <a:pt x="1016" y="1280"/>
                </a:cubicBezTo>
                <a:cubicBezTo>
                  <a:pt x="1017" y="1281"/>
                  <a:pt x="1017" y="1281"/>
                  <a:pt x="1018" y="1282"/>
                </a:cubicBezTo>
                <a:lnTo>
                  <a:pt x="1907" y="2171"/>
                </a:lnTo>
                <a:lnTo>
                  <a:pt x="1485" y="2594"/>
                </a:lnTo>
                <a:cubicBezTo>
                  <a:pt x="1466" y="2613"/>
                  <a:pt x="1449" y="2634"/>
                  <a:pt x="1435" y="2656"/>
                </a:cubicBezTo>
                <a:cubicBezTo>
                  <a:pt x="1311" y="2601"/>
                  <a:pt x="1176" y="2572"/>
                  <a:pt x="1037" y="2572"/>
                </a:cubicBezTo>
                <a:cubicBezTo>
                  <a:pt x="775" y="2572"/>
                  <a:pt x="529" y="2674"/>
                  <a:pt x="344" y="2859"/>
                </a:cubicBezTo>
                <a:cubicBezTo>
                  <a:pt x="96" y="3106"/>
                  <a:pt x="0" y="3471"/>
                  <a:pt x="92" y="3809"/>
                </a:cubicBezTo>
                <a:cubicBezTo>
                  <a:pt x="103" y="3852"/>
                  <a:pt x="143" y="3882"/>
                  <a:pt x="186" y="3882"/>
                </a:cubicBezTo>
                <a:lnTo>
                  <a:pt x="186" y="3882"/>
                </a:lnTo>
                <a:cubicBezTo>
                  <a:pt x="204" y="3882"/>
                  <a:pt x="232" y="3877"/>
                  <a:pt x="258" y="3851"/>
                </a:cubicBezTo>
                <a:cubicBezTo>
                  <a:pt x="261" y="3847"/>
                  <a:pt x="611" y="3500"/>
                  <a:pt x="727" y="3384"/>
                </a:cubicBezTo>
                <a:cubicBezTo>
                  <a:pt x="740" y="3372"/>
                  <a:pt x="762" y="3370"/>
                  <a:pt x="774" y="3370"/>
                </a:cubicBezTo>
                <a:cubicBezTo>
                  <a:pt x="783" y="3370"/>
                  <a:pt x="789" y="3371"/>
                  <a:pt x="789" y="3371"/>
                </a:cubicBezTo>
                <a:lnTo>
                  <a:pt x="789" y="3371"/>
                </a:lnTo>
                <a:lnTo>
                  <a:pt x="796" y="3372"/>
                </a:lnTo>
                <a:cubicBezTo>
                  <a:pt x="940" y="3385"/>
                  <a:pt x="1113" y="3411"/>
                  <a:pt x="1157" y="3431"/>
                </a:cubicBezTo>
                <a:cubicBezTo>
                  <a:pt x="1178" y="3475"/>
                  <a:pt x="1205" y="3652"/>
                  <a:pt x="1218" y="3798"/>
                </a:cubicBezTo>
                <a:lnTo>
                  <a:pt x="1219" y="3805"/>
                </a:lnTo>
                <a:cubicBezTo>
                  <a:pt x="1219" y="3805"/>
                  <a:pt x="1223" y="3842"/>
                  <a:pt x="1192" y="3873"/>
                </a:cubicBezTo>
                <a:cubicBezTo>
                  <a:pt x="1072" y="3993"/>
                  <a:pt x="741" y="4327"/>
                  <a:pt x="738" y="4330"/>
                </a:cubicBezTo>
                <a:cubicBezTo>
                  <a:pt x="710" y="4358"/>
                  <a:pt x="699" y="4393"/>
                  <a:pt x="707" y="4427"/>
                </a:cubicBezTo>
                <a:cubicBezTo>
                  <a:pt x="718" y="4467"/>
                  <a:pt x="752" y="4489"/>
                  <a:pt x="780" y="4497"/>
                </a:cubicBezTo>
                <a:cubicBezTo>
                  <a:pt x="864" y="4519"/>
                  <a:pt x="950" y="4531"/>
                  <a:pt x="1037" y="4531"/>
                </a:cubicBezTo>
                <a:cubicBezTo>
                  <a:pt x="1298" y="4531"/>
                  <a:pt x="1544" y="4429"/>
                  <a:pt x="1729" y="4244"/>
                </a:cubicBezTo>
                <a:cubicBezTo>
                  <a:pt x="1914" y="4059"/>
                  <a:pt x="2016" y="3813"/>
                  <a:pt x="2016" y="3551"/>
                </a:cubicBezTo>
                <a:cubicBezTo>
                  <a:pt x="2016" y="3412"/>
                  <a:pt x="1987" y="3277"/>
                  <a:pt x="1932" y="3153"/>
                </a:cubicBezTo>
                <a:cubicBezTo>
                  <a:pt x="1954" y="3139"/>
                  <a:pt x="1975" y="3122"/>
                  <a:pt x="1994" y="3103"/>
                </a:cubicBezTo>
                <a:lnTo>
                  <a:pt x="2417" y="2681"/>
                </a:lnTo>
                <a:lnTo>
                  <a:pt x="2535" y="2799"/>
                </a:lnTo>
                <a:lnTo>
                  <a:pt x="2469" y="2866"/>
                </a:lnTo>
                <a:cubicBezTo>
                  <a:pt x="2431" y="2904"/>
                  <a:pt x="2410" y="2954"/>
                  <a:pt x="2410" y="3007"/>
                </a:cubicBezTo>
                <a:cubicBezTo>
                  <a:pt x="2410" y="3061"/>
                  <a:pt x="2431" y="3111"/>
                  <a:pt x="2469" y="3149"/>
                </a:cubicBezTo>
                <a:lnTo>
                  <a:pt x="2721" y="3401"/>
                </a:lnTo>
                <a:cubicBezTo>
                  <a:pt x="2712" y="3427"/>
                  <a:pt x="2707" y="3455"/>
                  <a:pt x="2707" y="3484"/>
                </a:cubicBezTo>
                <a:cubicBezTo>
                  <a:pt x="2707" y="3552"/>
                  <a:pt x="2734" y="3615"/>
                  <a:pt x="2781" y="3663"/>
                </a:cubicBezTo>
                <a:lnTo>
                  <a:pt x="3834" y="4715"/>
                </a:lnTo>
                <a:cubicBezTo>
                  <a:pt x="3881" y="4763"/>
                  <a:pt x="3945" y="4789"/>
                  <a:pt x="4013" y="4789"/>
                </a:cubicBezTo>
                <a:cubicBezTo>
                  <a:pt x="4081" y="4789"/>
                  <a:pt x="4144" y="4763"/>
                  <a:pt x="4192" y="4715"/>
                </a:cubicBezTo>
                <a:lnTo>
                  <a:pt x="4734" y="4173"/>
                </a:lnTo>
                <a:cubicBezTo>
                  <a:pt x="4782" y="4126"/>
                  <a:pt x="4808" y="4062"/>
                  <a:pt x="4808" y="3994"/>
                </a:cubicBezTo>
                <a:cubicBezTo>
                  <a:pt x="4808" y="3926"/>
                  <a:pt x="4782" y="3863"/>
                  <a:pt x="4734" y="38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41E6A0B1-94CD-E5B5-8461-C2F25B390B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1301" y="943485"/>
            <a:ext cx="6787167" cy="4782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32080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外核结构</a:t>
            </a:r>
          </a:p>
        </p:txBody>
      </p:sp>
      <p:sp>
        <p:nvSpPr>
          <p:cNvPr id="7" name="内容占位符 2"/>
          <p:cNvSpPr txBox="1"/>
          <p:nvPr/>
        </p:nvSpPr>
        <p:spPr>
          <a:xfrm>
            <a:off x="1475122" y="1620491"/>
            <a:ext cx="4468969" cy="300302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zh-CN" altLang="en-US" sz="2400" dirty="0">
                <a:solidFill>
                  <a:srgbClr val="FF0000"/>
                </a:solidFill>
              </a:rPr>
              <a:t>基本思想</a:t>
            </a:r>
            <a:r>
              <a:rPr lang="zh-CN" altLang="en-US" sz="2400" dirty="0"/>
              <a:t>：</a:t>
            </a:r>
            <a:r>
              <a:rPr lang="zh-CN" altLang="zh-CN" sz="2400" dirty="0"/>
              <a:t>内核不提供传统</a:t>
            </a:r>
            <a:r>
              <a:rPr lang="en-US" altLang="zh-CN" sz="2400" dirty="0"/>
              <a:t>OS</a:t>
            </a:r>
            <a:r>
              <a:rPr lang="zh-CN" altLang="zh-CN" sz="2400" dirty="0"/>
              <a:t>中的进程、虚拟存储器等抽象，而是专注于物理资源的隔离（保护）与复用。</a:t>
            </a:r>
            <a:endParaRPr lang="en-US" altLang="zh-CN" sz="2400" dirty="0"/>
          </a:p>
          <a:p>
            <a:pPr marL="342900" lvl="1" indent="-342900">
              <a:lnSpc>
                <a:spcPct val="150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内核非常小，负责保护系统资源；</a:t>
            </a:r>
          </a:p>
          <a:p>
            <a:pPr marL="342900" lvl="1" indent="-342900">
              <a:lnSpc>
                <a:spcPct val="150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应用程序管理硬件资源。（</a:t>
            </a:r>
            <a:r>
              <a:rPr lang="zh-CN" altLang="en-US" sz="2200" dirty="0">
                <a:solidFill>
                  <a:srgbClr val="FF0000"/>
                </a:solidFill>
              </a:rPr>
              <a:t>传统</a:t>
            </a:r>
            <a:r>
              <a:rPr lang="en-US" altLang="zh-CN" sz="2200" dirty="0">
                <a:solidFill>
                  <a:srgbClr val="FF0000"/>
                </a:solidFill>
              </a:rPr>
              <a:t>OS</a:t>
            </a:r>
            <a:r>
              <a:rPr lang="zh-CN" altLang="en-US" sz="2200" dirty="0">
                <a:solidFill>
                  <a:srgbClr val="FF0000"/>
                </a:solidFill>
              </a:rPr>
              <a:t>是由内核管理硬件资源的</a:t>
            </a: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）</a:t>
            </a:r>
          </a:p>
        </p:txBody>
      </p:sp>
      <p:grpSp>
        <p:nvGrpSpPr>
          <p:cNvPr id="2" name="组合 1"/>
          <p:cNvGrpSpPr/>
          <p:nvPr/>
        </p:nvGrpSpPr>
        <p:grpSpPr>
          <a:xfrm>
            <a:off x="589878" y="1775039"/>
            <a:ext cx="712277" cy="418475"/>
            <a:chOff x="673100" y="2982961"/>
            <a:chExt cx="1597850" cy="938764"/>
          </a:xfrm>
        </p:grpSpPr>
        <p:sp>
          <p:nvSpPr>
            <p:cNvPr id="11" name="ïsḷîde"/>
            <p:cNvSpPr/>
            <p:nvPr/>
          </p:nvSpPr>
          <p:spPr bwMode="auto">
            <a:xfrm>
              <a:off x="673100" y="2982961"/>
              <a:ext cx="1597850" cy="938764"/>
            </a:xfrm>
            <a:prstGeom prst="hexagon">
              <a:avLst/>
            </a:prstGeom>
            <a:solidFill>
              <a:schemeClr val="accent1"/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 fontScale="47500" lnSpcReduction="20000"/>
            </a:bodyPr>
            <a:lstStyle/>
            <a:p>
              <a:pPr algn="ctr"/>
              <a:endParaRPr lang="en-US" altLang="zh-CN" sz="32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2" name="iṥḻíḓê"/>
            <p:cNvSpPr/>
            <p:nvPr/>
          </p:nvSpPr>
          <p:spPr bwMode="auto">
            <a:xfrm>
              <a:off x="1212384" y="3153135"/>
              <a:ext cx="567411" cy="566350"/>
            </a:xfrm>
            <a:custGeom>
              <a:avLst/>
              <a:gdLst>
                <a:gd name="connsiteX0" fmla="*/ 290910 w 605702"/>
                <a:gd name="connsiteY0" fmla="*/ 156336 h 604568"/>
                <a:gd name="connsiteX1" fmla="*/ 335849 w 605702"/>
                <a:gd name="connsiteY1" fmla="*/ 164992 h 604568"/>
                <a:gd name="connsiteX2" fmla="*/ 288310 w 605702"/>
                <a:gd name="connsiteY2" fmla="*/ 212456 h 604568"/>
                <a:gd name="connsiteX3" fmla="*/ 203632 w 605702"/>
                <a:gd name="connsiteY3" fmla="*/ 244717 h 604568"/>
                <a:gd name="connsiteX4" fmla="*/ 203632 w 605702"/>
                <a:gd name="connsiteY4" fmla="*/ 401388 h 604568"/>
                <a:gd name="connsiteX5" fmla="*/ 360547 w 605702"/>
                <a:gd name="connsiteY5" fmla="*/ 401388 h 604568"/>
                <a:gd name="connsiteX6" fmla="*/ 392859 w 605702"/>
                <a:gd name="connsiteY6" fmla="*/ 316749 h 604568"/>
                <a:gd name="connsiteX7" fmla="*/ 440397 w 605702"/>
                <a:gd name="connsiteY7" fmla="*/ 269284 h 604568"/>
                <a:gd name="connsiteX8" fmla="*/ 400287 w 605702"/>
                <a:gd name="connsiteY8" fmla="*/ 441065 h 604568"/>
                <a:gd name="connsiteX9" fmla="*/ 163892 w 605702"/>
                <a:gd name="connsiteY9" fmla="*/ 441065 h 604568"/>
                <a:gd name="connsiteX10" fmla="*/ 163892 w 605702"/>
                <a:gd name="connsiteY10" fmla="*/ 205040 h 604568"/>
                <a:gd name="connsiteX11" fmla="*/ 290910 w 605702"/>
                <a:gd name="connsiteY11" fmla="*/ 156336 h 604568"/>
                <a:gd name="connsiteX12" fmla="*/ 246542 w 605702"/>
                <a:gd name="connsiteY12" fmla="*/ 43775 h 604568"/>
                <a:gd name="connsiteX13" fmla="*/ 422196 w 605702"/>
                <a:gd name="connsiteY13" fmla="*/ 78723 h 604568"/>
                <a:gd name="connsiteX14" fmla="*/ 376794 w 605702"/>
                <a:gd name="connsiteY14" fmla="*/ 124054 h 604568"/>
                <a:gd name="connsiteX15" fmla="*/ 126109 w 605702"/>
                <a:gd name="connsiteY15" fmla="*/ 167345 h 604568"/>
                <a:gd name="connsiteX16" fmla="*/ 126109 w 605702"/>
                <a:gd name="connsiteY16" fmla="*/ 478820 h 604568"/>
                <a:gd name="connsiteX17" fmla="*/ 438073 w 605702"/>
                <a:gd name="connsiteY17" fmla="*/ 478820 h 604568"/>
                <a:gd name="connsiteX18" fmla="*/ 481432 w 605702"/>
                <a:gd name="connsiteY18" fmla="*/ 228527 h 604568"/>
                <a:gd name="connsiteX19" fmla="*/ 526741 w 605702"/>
                <a:gd name="connsiteY19" fmla="*/ 183011 h 604568"/>
                <a:gd name="connsiteX20" fmla="*/ 481432 w 605702"/>
                <a:gd name="connsiteY20" fmla="*/ 522111 h 604568"/>
                <a:gd name="connsiteX21" fmla="*/ 82657 w 605702"/>
                <a:gd name="connsiteY21" fmla="*/ 522111 h 604568"/>
                <a:gd name="connsiteX22" fmla="*/ 82657 w 605702"/>
                <a:gd name="connsiteY22" fmla="*/ 123961 h 604568"/>
                <a:gd name="connsiteX23" fmla="*/ 246542 w 605702"/>
                <a:gd name="connsiteY23" fmla="*/ 43775 h 604568"/>
                <a:gd name="connsiteX24" fmla="*/ 536061 w 605702"/>
                <a:gd name="connsiteY24" fmla="*/ 0 h 604568"/>
                <a:gd name="connsiteX25" fmla="*/ 544232 w 605702"/>
                <a:gd name="connsiteY25" fmla="*/ 61368 h 604568"/>
                <a:gd name="connsiteX26" fmla="*/ 605702 w 605702"/>
                <a:gd name="connsiteY26" fmla="*/ 69526 h 604568"/>
                <a:gd name="connsiteX27" fmla="*/ 524361 w 605702"/>
                <a:gd name="connsiteY27" fmla="*/ 150732 h 604568"/>
                <a:gd name="connsiteX28" fmla="*/ 498361 w 605702"/>
                <a:gd name="connsiteY28" fmla="*/ 147302 h 604568"/>
                <a:gd name="connsiteX29" fmla="*/ 337721 w 605702"/>
                <a:gd name="connsiteY29" fmla="*/ 307767 h 604568"/>
                <a:gd name="connsiteX30" fmla="*/ 339764 w 605702"/>
                <a:gd name="connsiteY30" fmla="*/ 323063 h 604568"/>
                <a:gd name="connsiteX31" fmla="*/ 282101 w 605702"/>
                <a:gd name="connsiteY31" fmla="*/ 380630 h 604568"/>
                <a:gd name="connsiteX32" fmla="*/ 224437 w 605702"/>
                <a:gd name="connsiteY32" fmla="*/ 323063 h 604568"/>
                <a:gd name="connsiteX33" fmla="*/ 282101 w 605702"/>
                <a:gd name="connsiteY33" fmla="*/ 265495 h 604568"/>
                <a:gd name="connsiteX34" fmla="*/ 297422 w 605702"/>
                <a:gd name="connsiteY34" fmla="*/ 267535 h 604568"/>
                <a:gd name="connsiteX35" fmla="*/ 458155 w 605702"/>
                <a:gd name="connsiteY35" fmla="*/ 107162 h 604568"/>
                <a:gd name="connsiteX36" fmla="*/ 454719 w 605702"/>
                <a:gd name="connsiteY36" fmla="*/ 81206 h 60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5702" h="604568">
                  <a:moveTo>
                    <a:pt x="290910" y="156336"/>
                  </a:moveTo>
                  <a:cubicBezTo>
                    <a:pt x="306137" y="157147"/>
                    <a:pt x="321272" y="160032"/>
                    <a:pt x="335849" y="164992"/>
                  </a:cubicBezTo>
                  <a:lnTo>
                    <a:pt x="288310" y="212456"/>
                  </a:lnTo>
                  <a:cubicBezTo>
                    <a:pt x="257856" y="210695"/>
                    <a:pt x="226844" y="221449"/>
                    <a:pt x="203632" y="244717"/>
                  </a:cubicBezTo>
                  <a:cubicBezTo>
                    <a:pt x="160271" y="287918"/>
                    <a:pt x="160271" y="358187"/>
                    <a:pt x="203632" y="401388"/>
                  </a:cubicBezTo>
                  <a:cubicBezTo>
                    <a:pt x="246900" y="444680"/>
                    <a:pt x="317279" y="444680"/>
                    <a:pt x="360547" y="401388"/>
                  </a:cubicBezTo>
                  <a:cubicBezTo>
                    <a:pt x="383852" y="378211"/>
                    <a:pt x="394623" y="347156"/>
                    <a:pt x="392859" y="316749"/>
                  </a:cubicBezTo>
                  <a:lnTo>
                    <a:pt x="440397" y="269284"/>
                  </a:lnTo>
                  <a:cubicBezTo>
                    <a:pt x="460267" y="327595"/>
                    <a:pt x="446897" y="394620"/>
                    <a:pt x="400287" y="441065"/>
                  </a:cubicBezTo>
                  <a:cubicBezTo>
                    <a:pt x="335106" y="506236"/>
                    <a:pt x="229073" y="506236"/>
                    <a:pt x="163892" y="441065"/>
                  </a:cubicBezTo>
                  <a:cubicBezTo>
                    <a:pt x="98619" y="375987"/>
                    <a:pt x="98619" y="270118"/>
                    <a:pt x="163892" y="205040"/>
                  </a:cubicBezTo>
                  <a:cubicBezTo>
                    <a:pt x="198711" y="170137"/>
                    <a:pt x="245228" y="153902"/>
                    <a:pt x="290910" y="156336"/>
                  </a:cubicBezTo>
                  <a:close/>
                  <a:moveTo>
                    <a:pt x="246542" y="43775"/>
                  </a:moveTo>
                  <a:cubicBezTo>
                    <a:pt x="306463" y="36243"/>
                    <a:pt x="368345" y="47900"/>
                    <a:pt x="422196" y="78723"/>
                  </a:cubicBezTo>
                  <a:lnTo>
                    <a:pt x="376794" y="124054"/>
                  </a:lnTo>
                  <a:cubicBezTo>
                    <a:pt x="294811" y="85305"/>
                    <a:pt x="193980" y="99581"/>
                    <a:pt x="126109" y="167345"/>
                  </a:cubicBezTo>
                  <a:cubicBezTo>
                    <a:pt x="39948" y="253371"/>
                    <a:pt x="39948" y="392793"/>
                    <a:pt x="126109" y="478820"/>
                  </a:cubicBezTo>
                  <a:cubicBezTo>
                    <a:pt x="212271" y="564846"/>
                    <a:pt x="351912" y="564846"/>
                    <a:pt x="438073" y="478820"/>
                  </a:cubicBezTo>
                  <a:cubicBezTo>
                    <a:pt x="505944" y="411055"/>
                    <a:pt x="520428" y="310382"/>
                    <a:pt x="481432" y="228527"/>
                  </a:cubicBezTo>
                  <a:lnTo>
                    <a:pt x="526741" y="183011"/>
                  </a:lnTo>
                  <a:cubicBezTo>
                    <a:pt x="588484" y="290544"/>
                    <a:pt x="573350" y="430244"/>
                    <a:pt x="481432" y="522111"/>
                  </a:cubicBezTo>
                  <a:cubicBezTo>
                    <a:pt x="371316" y="632054"/>
                    <a:pt x="192866" y="632054"/>
                    <a:pt x="82657" y="522111"/>
                  </a:cubicBezTo>
                  <a:cubicBezTo>
                    <a:pt x="-27552" y="412168"/>
                    <a:pt x="-27552" y="233997"/>
                    <a:pt x="82657" y="123961"/>
                  </a:cubicBezTo>
                  <a:cubicBezTo>
                    <a:pt x="128662" y="78028"/>
                    <a:pt x="186622" y="51307"/>
                    <a:pt x="246542" y="43775"/>
                  </a:cubicBezTo>
                  <a:close/>
                  <a:moveTo>
                    <a:pt x="536061" y="0"/>
                  </a:moveTo>
                  <a:lnTo>
                    <a:pt x="544232" y="61368"/>
                  </a:lnTo>
                  <a:lnTo>
                    <a:pt x="605702" y="69526"/>
                  </a:lnTo>
                  <a:lnTo>
                    <a:pt x="524361" y="150732"/>
                  </a:lnTo>
                  <a:lnTo>
                    <a:pt x="498361" y="147302"/>
                  </a:lnTo>
                  <a:lnTo>
                    <a:pt x="337721" y="307767"/>
                  </a:lnTo>
                  <a:cubicBezTo>
                    <a:pt x="339021" y="312588"/>
                    <a:pt x="339764" y="317779"/>
                    <a:pt x="339764" y="323063"/>
                  </a:cubicBezTo>
                  <a:cubicBezTo>
                    <a:pt x="339764" y="354859"/>
                    <a:pt x="313950" y="380630"/>
                    <a:pt x="282101" y="380630"/>
                  </a:cubicBezTo>
                  <a:cubicBezTo>
                    <a:pt x="250251" y="380630"/>
                    <a:pt x="224437" y="354859"/>
                    <a:pt x="224437" y="323063"/>
                  </a:cubicBezTo>
                  <a:cubicBezTo>
                    <a:pt x="224437" y="291266"/>
                    <a:pt x="250251" y="265495"/>
                    <a:pt x="282101" y="265495"/>
                  </a:cubicBezTo>
                  <a:cubicBezTo>
                    <a:pt x="287393" y="265495"/>
                    <a:pt x="292500" y="266237"/>
                    <a:pt x="297422" y="267535"/>
                  </a:cubicBezTo>
                  <a:lnTo>
                    <a:pt x="458155" y="107162"/>
                  </a:lnTo>
                  <a:lnTo>
                    <a:pt x="454719" y="812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 fontScale="70000" lnSpcReduction="20000"/>
            </a:bodyPr>
            <a:lstStyle/>
            <a:p>
              <a:endParaRPr lang="zh-CN" altLang="en-US"/>
            </a:p>
          </p:txBody>
        </p:sp>
      </p:grpSp>
      <p:grpSp>
        <p:nvGrpSpPr>
          <p:cNvPr id="13" name="组合 12"/>
          <p:cNvGrpSpPr/>
          <p:nvPr/>
        </p:nvGrpSpPr>
        <p:grpSpPr>
          <a:xfrm>
            <a:off x="669925" y="5239757"/>
            <a:ext cx="712277" cy="418475"/>
            <a:chOff x="673100" y="2982961"/>
            <a:chExt cx="1597850" cy="938764"/>
          </a:xfrm>
        </p:grpSpPr>
        <p:sp>
          <p:nvSpPr>
            <p:cNvPr id="14" name="ïsḷîde"/>
            <p:cNvSpPr/>
            <p:nvPr/>
          </p:nvSpPr>
          <p:spPr bwMode="auto">
            <a:xfrm>
              <a:off x="673100" y="2982961"/>
              <a:ext cx="1597850" cy="938764"/>
            </a:xfrm>
            <a:prstGeom prst="hexagon">
              <a:avLst/>
            </a:prstGeom>
            <a:solidFill>
              <a:schemeClr val="accent1"/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 fontScale="47500" lnSpcReduction="20000"/>
            </a:bodyPr>
            <a:lstStyle/>
            <a:p>
              <a:pPr algn="ctr"/>
              <a:endParaRPr lang="en-US" altLang="zh-CN" sz="32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5" name="iṥḻíḓê"/>
            <p:cNvSpPr/>
            <p:nvPr/>
          </p:nvSpPr>
          <p:spPr bwMode="auto">
            <a:xfrm>
              <a:off x="1212384" y="3153135"/>
              <a:ext cx="567411" cy="566350"/>
            </a:xfrm>
            <a:custGeom>
              <a:avLst/>
              <a:gdLst>
                <a:gd name="connsiteX0" fmla="*/ 290910 w 605702"/>
                <a:gd name="connsiteY0" fmla="*/ 156336 h 604568"/>
                <a:gd name="connsiteX1" fmla="*/ 335849 w 605702"/>
                <a:gd name="connsiteY1" fmla="*/ 164992 h 604568"/>
                <a:gd name="connsiteX2" fmla="*/ 288310 w 605702"/>
                <a:gd name="connsiteY2" fmla="*/ 212456 h 604568"/>
                <a:gd name="connsiteX3" fmla="*/ 203632 w 605702"/>
                <a:gd name="connsiteY3" fmla="*/ 244717 h 604568"/>
                <a:gd name="connsiteX4" fmla="*/ 203632 w 605702"/>
                <a:gd name="connsiteY4" fmla="*/ 401388 h 604568"/>
                <a:gd name="connsiteX5" fmla="*/ 360547 w 605702"/>
                <a:gd name="connsiteY5" fmla="*/ 401388 h 604568"/>
                <a:gd name="connsiteX6" fmla="*/ 392859 w 605702"/>
                <a:gd name="connsiteY6" fmla="*/ 316749 h 604568"/>
                <a:gd name="connsiteX7" fmla="*/ 440397 w 605702"/>
                <a:gd name="connsiteY7" fmla="*/ 269284 h 604568"/>
                <a:gd name="connsiteX8" fmla="*/ 400287 w 605702"/>
                <a:gd name="connsiteY8" fmla="*/ 441065 h 604568"/>
                <a:gd name="connsiteX9" fmla="*/ 163892 w 605702"/>
                <a:gd name="connsiteY9" fmla="*/ 441065 h 604568"/>
                <a:gd name="connsiteX10" fmla="*/ 163892 w 605702"/>
                <a:gd name="connsiteY10" fmla="*/ 205040 h 604568"/>
                <a:gd name="connsiteX11" fmla="*/ 290910 w 605702"/>
                <a:gd name="connsiteY11" fmla="*/ 156336 h 604568"/>
                <a:gd name="connsiteX12" fmla="*/ 246542 w 605702"/>
                <a:gd name="connsiteY12" fmla="*/ 43775 h 604568"/>
                <a:gd name="connsiteX13" fmla="*/ 422196 w 605702"/>
                <a:gd name="connsiteY13" fmla="*/ 78723 h 604568"/>
                <a:gd name="connsiteX14" fmla="*/ 376794 w 605702"/>
                <a:gd name="connsiteY14" fmla="*/ 124054 h 604568"/>
                <a:gd name="connsiteX15" fmla="*/ 126109 w 605702"/>
                <a:gd name="connsiteY15" fmla="*/ 167345 h 604568"/>
                <a:gd name="connsiteX16" fmla="*/ 126109 w 605702"/>
                <a:gd name="connsiteY16" fmla="*/ 478820 h 604568"/>
                <a:gd name="connsiteX17" fmla="*/ 438073 w 605702"/>
                <a:gd name="connsiteY17" fmla="*/ 478820 h 604568"/>
                <a:gd name="connsiteX18" fmla="*/ 481432 w 605702"/>
                <a:gd name="connsiteY18" fmla="*/ 228527 h 604568"/>
                <a:gd name="connsiteX19" fmla="*/ 526741 w 605702"/>
                <a:gd name="connsiteY19" fmla="*/ 183011 h 604568"/>
                <a:gd name="connsiteX20" fmla="*/ 481432 w 605702"/>
                <a:gd name="connsiteY20" fmla="*/ 522111 h 604568"/>
                <a:gd name="connsiteX21" fmla="*/ 82657 w 605702"/>
                <a:gd name="connsiteY21" fmla="*/ 522111 h 604568"/>
                <a:gd name="connsiteX22" fmla="*/ 82657 w 605702"/>
                <a:gd name="connsiteY22" fmla="*/ 123961 h 604568"/>
                <a:gd name="connsiteX23" fmla="*/ 246542 w 605702"/>
                <a:gd name="connsiteY23" fmla="*/ 43775 h 604568"/>
                <a:gd name="connsiteX24" fmla="*/ 536061 w 605702"/>
                <a:gd name="connsiteY24" fmla="*/ 0 h 604568"/>
                <a:gd name="connsiteX25" fmla="*/ 544232 w 605702"/>
                <a:gd name="connsiteY25" fmla="*/ 61368 h 604568"/>
                <a:gd name="connsiteX26" fmla="*/ 605702 w 605702"/>
                <a:gd name="connsiteY26" fmla="*/ 69526 h 604568"/>
                <a:gd name="connsiteX27" fmla="*/ 524361 w 605702"/>
                <a:gd name="connsiteY27" fmla="*/ 150732 h 604568"/>
                <a:gd name="connsiteX28" fmla="*/ 498361 w 605702"/>
                <a:gd name="connsiteY28" fmla="*/ 147302 h 604568"/>
                <a:gd name="connsiteX29" fmla="*/ 337721 w 605702"/>
                <a:gd name="connsiteY29" fmla="*/ 307767 h 604568"/>
                <a:gd name="connsiteX30" fmla="*/ 339764 w 605702"/>
                <a:gd name="connsiteY30" fmla="*/ 323063 h 604568"/>
                <a:gd name="connsiteX31" fmla="*/ 282101 w 605702"/>
                <a:gd name="connsiteY31" fmla="*/ 380630 h 604568"/>
                <a:gd name="connsiteX32" fmla="*/ 224437 w 605702"/>
                <a:gd name="connsiteY32" fmla="*/ 323063 h 604568"/>
                <a:gd name="connsiteX33" fmla="*/ 282101 w 605702"/>
                <a:gd name="connsiteY33" fmla="*/ 265495 h 604568"/>
                <a:gd name="connsiteX34" fmla="*/ 297422 w 605702"/>
                <a:gd name="connsiteY34" fmla="*/ 267535 h 604568"/>
                <a:gd name="connsiteX35" fmla="*/ 458155 w 605702"/>
                <a:gd name="connsiteY35" fmla="*/ 107162 h 604568"/>
                <a:gd name="connsiteX36" fmla="*/ 454719 w 605702"/>
                <a:gd name="connsiteY36" fmla="*/ 81206 h 60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5702" h="604568">
                  <a:moveTo>
                    <a:pt x="290910" y="156336"/>
                  </a:moveTo>
                  <a:cubicBezTo>
                    <a:pt x="306137" y="157147"/>
                    <a:pt x="321272" y="160032"/>
                    <a:pt x="335849" y="164992"/>
                  </a:cubicBezTo>
                  <a:lnTo>
                    <a:pt x="288310" y="212456"/>
                  </a:lnTo>
                  <a:cubicBezTo>
                    <a:pt x="257856" y="210695"/>
                    <a:pt x="226844" y="221449"/>
                    <a:pt x="203632" y="244717"/>
                  </a:cubicBezTo>
                  <a:cubicBezTo>
                    <a:pt x="160271" y="287918"/>
                    <a:pt x="160271" y="358187"/>
                    <a:pt x="203632" y="401388"/>
                  </a:cubicBezTo>
                  <a:cubicBezTo>
                    <a:pt x="246900" y="444680"/>
                    <a:pt x="317279" y="444680"/>
                    <a:pt x="360547" y="401388"/>
                  </a:cubicBezTo>
                  <a:cubicBezTo>
                    <a:pt x="383852" y="378211"/>
                    <a:pt x="394623" y="347156"/>
                    <a:pt x="392859" y="316749"/>
                  </a:cubicBezTo>
                  <a:lnTo>
                    <a:pt x="440397" y="269284"/>
                  </a:lnTo>
                  <a:cubicBezTo>
                    <a:pt x="460267" y="327595"/>
                    <a:pt x="446897" y="394620"/>
                    <a:pt x="400287" y="441065"/>
                  </a:cubicBezTo>
                  <a:cubicBezTo>
                    <a:pt x="335106" y="506236"/>
                    <a:pt x="229073" y="506236"/>
                    <a:pt x="163892" y="441065"/>
                  </a:cubicBezTo>
                  <a:cubicBezTo>
                    <a:pt x="98619" y="375987"/>
                    <a:pt x="98619" y="270118"/>
                    <a:pt x="163892" y="205040"/>
                  </a:cubicBezTo>
                  <a:cubicBezTo>
                    <a:pt x="198711" y="170137"/>
                    <a:pt x="245228" y="153902"/>
                    <a:pt x="290910" y="156336"/>
                  </a:cubicBezTo>
                  <a:close/>
                  <a:moveTo>
                    <a:pt x="246542" y="43775"/>
                  </a:moveTo>
                  <a:cubicBezTo>
                    <a:pt x="306463" y="36243"/>
                    <a:pt x="368345" y="47900"/>
                    <a:pt x="422196" y="78723"/>
                  </a:cubicBezTo>
                  <a:lnTo>
                    <a:pt x="376794" y="124054"/>
                  </a:lnTo>
                  <a:cubicBezTo>
                    <a:pt x="294811" y="85305"/>
                    <a:pt x="193980" y="99581"/>
                    <a:pt x="126109" y="167345"/>
                  </a:cubicBezTo>
                  <a:cubicBezTo>
                    <a:pt x="39948" y="253371"/>
                    <a:pt x="39948" y="392793"/>
                    <a:pt x="126109" y="478820"/>
                  </a:cubicBezTo>
                  <a:cubicBezTo>
                    <a:pt x="212271" y="564846"/>
                    <a:pt x="351912" y="564846"/>
                    <a:pt x="438073" y="478820"/>
                  </a:cubicBezTo>
                  <a:cubicBezTo>
                    <a:pt x="505944" y="411055"/>
                    <a:pt x="520428" y="310382"/>
                    <a:pt x="481432" y="228527"/>
                  </a:cubicBezTo>
                  <a:lnTo>
                    <a:pt x="526741" y="183011"/>
                  </a:lnTo>
                  <a:cubicBezTo>
                    <a:pt x="588484" y="290544"/>
                    <a:pt x="573350" y="430244"/>
                    <a:pt x="481432" y="522111"/>
                  </a:cubicBezTo>
                  <a:cubicBezTo>
                    <a:pt x="371316" y="632054"/>
                    <a:pt x="192866" y="632054"/>
                    <a:pt x="82657" y="522111"/>
                  </a:cubicBezTo>
                  <a:cubicBezTo>
                    <a:pt x="-27552" y="412168"/>
                    <a:pt x="-27552" y="233997"/>
                    <a:pt x="82657" y="123961"/>
                  </a:cubicBezTo>
                  <a:cubicBezTo>
                    <a:pt x="128662" y="78028"/>
                    <a:pt x="186622" y="51307"/>
                    <a:pt x="246542" y="43775"/>
                  </a:cubicBezTo>
                  <a:close/>
                  <a:moveTo>
                    <a:pt x="536061" y="0"/>
                  </a:moveTo>
                  <a:lnTo>
                    <a:pt x="544232" y="61368"/>
                  </a:lnTo>
                  <a:lnTo>
                    <a:pt x="605702" y="69526"/>
                  </a:lnTo>
                  <a:lnTo>
                    <a:pt x="524361" y="150732"/>
                  </a:lnTo>
                  <a:lnTo>
                    <a:pt x="498361" y="147302"/>
                  </a:lnTo>
                  <a:lnTo>
                    <a:pt x="337721" y="307767"/>
                  </a:lnTo>
                  <a:cubicBezTo>
                    <a:pt x="339021" y="312588"/>
                    <a:pt x="339764" y="317779"/>
                    <a:pt x="339764" y="323063"/>
                  </a:cubicBezTo>
                  <a:cubicBezTo>
                    <a:pt x="339764" y="354859"/>
                    <a:pt x="313950" y="380630"/>
                    <a:pt x="282101" y="380630"/>
                  </a:cubicBezTo>
                  <a:cubicBezTo>
                    <a:pt x="250251" y="380630"/>
                    <a:pt x="224437" y="354859"/>
                    <a:pt x="224437" y="323063"/>
                  </a:cubicBezTo>
                  <a:cubicBezTo>
                    <a:pt x="224437" y="291266"/>
                    <a:pt x="250251" y="265495"/>
                    <a:pt x="282101" y="265495"/>
                  </a:cubicBezTo>
                  <a:cubicBezTo>
                    <a:pt x="287393" y="265495"/>
                    <a:pt x="292500" y="266237"/>
                    <a:pt x="297422" y="267535"/>
                  </a:cubicBezTo>
                  <a:lnTo>
                    <a:pt x="458155" y="107162"/>
                  </a:lnTo>
                  <a:lnTo>
                    <a:pt x="454719" y="812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 fontScale="70000" lnSpcReduction="20000"/>
            </a:bodyPr>
            <a:lstStyle/>
            <a:p>
              <a:endParaRPr lang="zh-CN" altLang="en-US"/>
            </a:p>
          </p:txBody>
        </p:sp>
      </p:grpSp>
      <p:sp>
        <p:nvSpPr>
          <p:cNvPr id="16" name="内容占位符 2"/>
          <p:cNvSpPr txBox="1"/>
          <p:nvPr/>
        </p:nvSpPr>
        <p:spPr>
          <a:xfrm>
            <a:off x="1490775" y="5237509"/>
            <a:ext cx="3013657" cy="51087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>
                <a:solidFill>
                  <a:srgbClr val="0000FF"/>
                </a:solidFill>
              </a:rPr>
              <a:t>实例</a:t>
            </a:r>
            <a:r>
              <a:rPr lang="zh-CN" altLang="en-US" sz="2400" dirty="0"/>
              <a:t>：</a:t>
            </a:r>
            <a:r>
              <a:rPr lang="en-US" altLang="zh-CN" sz="2400" dirty="0"/>
              <a:t>Aegis</a:t>
            </a:r>
            <a:r>
              <a:rPr lang="zh-CN" altLang="zh-CN" sz="2400" dirty="0"/>
              <a:t>系统。</a:t>
            </a:r>
            <a:endParaRPr lang="zh-CN" altLang="en-US" sz="2400" dirty="0"/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1606" y="1612630"/>
            <a:ext cx="5744210" cy="3905885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solidFill>
                  <a:srgbClr val="00005C"/>
                </a:solidFill>
                <a:latin typeface="+mj-ea"/>
                <a:ea typeface="+mj-ea"/>
              </a:rPr>
              <a:t>1.1 </a:t>
            </a:r>
            <a:r>
              <a:rPr lang="zh-CN" altLang="en-US" sz="2400" dirty="0">
                <a:solidFill>
                  <a:srgbClr val="00005C"/>
                </a:solidFill>
                <a:latin typeface="+mj-ea"/>
                <a:ea typeface="+mj-ea"/>
              </a:rPr>
              <a:t>操作系统的目标和作用</a:t>
            </a:r>
            <a:endParaRPr lang="en-US" altLang="zh-CN" sz="2400" dirty="0">
              <a:solidFill>
                <a:srgbClr val="00005C"/>
              </a:solidFill>
              <a:latin typeface="+mj-ea"/>
              <a:ea typeface="+mj-ea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2 </a:t>
            </a:r>
            <a:r>
              <a:rPr lang="zh-CN" altLang="en-US" sz="2400" dirty="0">
                <a:latin typeface="+mj-ea"/>
              </a:rPr>
              <a:t>操作系统的发展过程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3 </a:t>
            </a:r>
            <a:r>
              <a:rPr lang="zh-CN" altLang="en-US" sz="2400" dirty="0">
                <a:latin typeface="+mj-ea"/>
              </a:rPr>
              <a:t>操作系统的基本特征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</a:rPr>
              <a:t>1.4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</a:rPr>
              <a:t>操作系统的运行环境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233048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5 </a:t>
            </a:r>
            <a:r>
              <a:rPr lang="zh-CN" altLang="en-US" sz="2400" dirty="0">
                <a:latin typeface="+mj-ea"/>
              </a:rPr>
              <a:t>操作系统的主要功能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852173"/>
            <a:ext cx="36821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6 </a:t>
            </a:r>
            <a:r>
              <a:rPr lang="zh-CN" altLang="en-US" sz="2400" dirty="0">
                <a:latin typeface="+mj-ea"/>
              </a:rPr>
              <a:t>操作系统的结构设计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471298"/>
            <a:ext cx="258744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7 </a:t>
            </a:r>
            <a:r>
              <a:rPr lang="zh-CN" altLang="en-US" sz="2400" dirty="0">
                <a:latin typeface="+mj-ea"/>
              </a:rPr>
              <a:t>系统调用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26270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1</a:t>
            </a:r>
            <a:r>
              <a:rPr lang="zh-CN" altLang="en-US" sz="3600" dirty="0">
                <a:solidFill>
                  <a:srgbClr val="000000"/>
                </a:solidFill>
              </a:rPr>
              <a:t>章 操作系统引论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565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233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42408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solidFill>
                  <a:srgbClr val="00005C"/>
                </a:solidFill>
                <a:latin typeface="+mj-ea"/>
                <a:ea typeface="+mj-ea"/>
              </a:rPr>
              <a:t>1.1 </a:t>
            </a:r>
            <a:r>
              <a:rPr lang="zh-CN" altLang="en-US" sz="2400" dirty="0">
                <a:solidFill>
                  <a:srgbClr val="00005C"/>
                </a:solidFill>
                <a:latin typeface="+mj-ea"/>
                <a:ea typeface="+mj-ea"/>
              </a:rPr>
              <a:t>操作系统的目标和作用</a:t>
            </a:r>
            <a:endParaRPr lang="en-US" altLang="zh-CN" sz="2400" dirty="0">
              <a:solidFill>
                <a:srgbClr val="00005C"/>
              </a:solidFill>
              <a:latin typeface="+mj-ea"/>
              <a:ea typeface="+mj-ea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2 </a:t>
            </a:r>
            <a:r>
              <a:rPr lang="zh-CN" altLang="en-US" sz="2400" dirty="0">
                <a:latin typeface="+mj-ea"/>
              </a:rPr>
              <a:t>操作系统的发展过程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3 </a:t>
            </a:r>
            <a:r>
              <a:rPr lang="zh-CN" altLang="en-US" sz="2400" dirty="0">
                <a:latin typeface="+mj-ea"/>
              </a:rPr>
              <a:t>操作系统的基本特征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4 </a:t>
            </a:r>
            <a:r>
              <a:rPr lang="zh-CN" altLang="en-US" sz="2400" dirty="0">
                <a:latin typeface="+mj-ea"/>
              </a:rPr>
              <a:t>操作系统的运行环境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233048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5 </a:t>
            </a:r>
            <a:r>
              <a:rPr lang="zh-CN" altLang="en-US" sz="2400" dirty="0">
                <a:latin typeface="+mj-ea"/>
              </a:rPr>
              <a:t>操作系统的主要功能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852173"/>
            <a:ext cx="3682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6 </a:t>
            </a:r>
            <a:r>
              <a:rPr lang="zh-CN" altLang="en-US" sz="2400" dirty="0">
                <a:latin typeface="+mj-ea"/>
              </a:rPr>
              <a:t>操作系统的结构设计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471298"/>
            <a:ext cx="25874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</a:rPr>
              <a:t>1.7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</a:rPr>
              <a:t>系统调用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26270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1</a:t>
            </a:r>
            <a:r>
              <a:rPr lang="zh-CN" altLang="en-US" sz="3600" dirty="0">
                <a:solidFill>
                  <a:srgbClr val="000000"/>
                </a:solidFill>
              </a:rPr>
              <a:t>章 操作系统引论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565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233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42408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系统调用的基本概念</a:t>
            </a:r>
          </a:p>
        </p:txBody>
      </p:sp>
      <p:sp>
        <p:nvSpPr>
          <p:cNvPr id="4" name="íšḻîḋè"/>
          <p:cNvSpPr/>
          <p:nvPr/>
        </p:nvSpPr>
        <p:spPr>
          <a:xfrm>
            <a:off x="2055936" y="3048930"/>
            <a:ext cx="7178215" cy="99605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应用程序请求</a:t>
            </a:r>
            <a:r>
              <a:rPr lang="en-US" altLang="zh-CN" sz="2200" dirty="0"/>
              <a:t>OS</a:t>
            </a:r>
            <a:r>
              <a:rPr lang="zh-CN" altLang="en-US" sz="2200" dirty="0"/>
              <a:t>内核完成某功能时的一种过程调用；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用户与内核的接口。</a:t>
            </a:r>
          </a:p>
        </p:txBody>
      </p:sp>
      <p:sp>
        <p:nvSpPr>
          <p:cNvPr id="5" name="i$lîďê"/>
          <p:cNvSpPr/>
          <p:nvPr/>
        </p:nvSpPr>
        <p:spPr>
          <a:xfrm>
            <a:off x="2111572" y="2518761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系统调用</a:t>
            </a:r>
            <a:r>
              <a:rPr lang="zh-CN" altLang="en-US" sz="2400" dirty="0">
                <a:solidFill>
                  <a:srgbClr val="FF0000"/>
                </a:solidFill>
              </a:rPr>
              <a:t>概念：</a:t>
            </a:r>
          </a:p>
        </p:txBody>
      </p:sp>
      <p:sp>
        <p:nvSpPr>
          <p:cNvPr id="6" name="î$ļíḋè"/>
          <p:cNvSpPr/>
          <p:nvPr/>
        </p:nvSpPr>
        <p:spPr>
          <a:xfrm>
            <a:off x="2111574" y="4633156"/>
            <a:ext cx="5459358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运行在不同的系统状态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状态的转换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返回问题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嵌套调用</a:t>
            </a:r>
          </a:p>
        </p:txBody>
      </p:sp>
      <p:sp>
        <p:nvSpPr>
          <p:cNvPr id="7" name="ïṧḷïḋè"/>
          <p:cNvSpPr/>
          <p:nvPr/>
        </p:nvSpPr>
        <p:spPr>
          <a:xfrm>
            <a:off x="2111574" y="4120381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与一般过程调用的区别：</a:t>
            </a:r>
          </a:p>
        </p:txBody>
      </p:sp>
      <p:sp>
        <p:nvSpPr>
          <p:cNvPr id="8" name="îs1iďé"/>
          <p:cNvSpPr/>
          <p:nvPr/>
        </p:nvSpPr>
        <p:spPr>
          <a:xfrm>
            <a:off x="2130630" y="1804361"/>
            <a:ext cx="9711234" cy="60274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使应用程序可以通过它间接调用</a:t>
            </a:r>
            <a:r>
              <a:rPr lang="en-US" altLang="zh-CN" sz="2200" dirty="0"/>
              <a:t>OS</a:t>
            </a:r>
            <a:r>
              <a:rPr lang="zh-CN" altLang="en-US" sz="2200" dirty="0"/>
              <a:t>内核中的相关过程，取得相应的服务。</a:t>
            </a:r>
          </a:p>
        </p:txBody>
      </p:sp>
      <p:sp>
        <p:nvSpPr>
          <p:cNvPr id="9" name="íšḻíḑê"/>
          <p:cNvSpPr/>
          <p:nvPr/>
        </p:nvSpPr>
        <p:spPr>
          <a:xfrm>
            <a:off x="2111573" y="1271404"/>
            <a:ext cx="7264247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系统调用目的：</a:t>
            </a:r>
          </a:p>
        </p:txBody>
      </p:sp>
      <p:sp>
        <p:nvSpPr>
          <p:cNvPr id="10" name="îSļiḓè"/>
          <p:cNvSpPr/>
          <p:nvPr/>
        </p:nvSpPr>
        <p:spPr>
          <a:xfrm>
            <a:off x="1428070" y="1257842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1" name="íṥḻîḓe"/>
          <p:cNvSpPr/>
          <p:nvPr/>
        </p:nvSpPr>
        <p:spPr>
          <a:xfrm>
            <a:off x="1428070" y="4037779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/>
        </p:nvSpPr>
        <p:spPr>
          <a:xfrm>
            <a:off x="1428070" y="2418235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3" name="îṡḷíďe"/>
          <p:cNvSpPr/>
          <p:nvPr/>
        </p:nvSpPr>
        <p:spPr>
          <a:xfrm>
            <a:off x="1618325" y="1453980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/>
        </p:nvSpPr>
        <p:spPr>
          <a:xfrm>
            <a:off x="1618324" y="2640252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/>
        </p:nvSpPr>
        <p:spPr>
          <a:xfrm>
            <a:off x="1647263" y="4227239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系统调用的类型</a:t>
            </a:r>
          </a:p>
        </p:txBody>
      </p:sp>
      <p:grpSp>
        <p:nvGrpSpPr>
          <p:cNvPr id="16" name="20420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59456" y="1271069"/>
            <a:ext cx="11102932" cy="5155984"/>
            <a:chOff x="659456" y="1271069"/>
            <a:chExt cx="11102932" cy="5155984"/>
          </a:xfrm>
        </p:grpSpPr>
        <p:sp>
          <p:nvSpPr>
            <p:cNvPr id="17" name="iśḷíḑe"/>
            <p:cNvSpPr/>
            <p:nvPr/>
          </p:nvSpPr>
          <p:spPr>
            <a:xfrm>
              <a:off x="3262313" y="4730620"/>
              <a:ext cx="723900" cy="7239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 defTabSz="1218565">
                <a:defRPr/>
              </a:pPr>
              <a:r>
                <a:rPr lang="en-US" altLang="zh-CN" sz="2300" b="1" kern="0" dirty="0">
                  <a:solidFill>
                    <a:prstClr val="white"/>
                  </a:solidFill>
                </a:rPr>
                <a:t>01</a:t>
              </a:r>
              <a:endParaRPr lang="zh-CN" altLang="en-US" sz="2300" b="1" kern="0" dirty="0">
                <a:solidFill>
                  <a:prstClr val="white"/>
                </a:solidFill>
              </a:endParaRPr>
            </a:p>
          </p:txBody>
        </p:sp>
        <p:sp>
          <p:nvSpPr>
            <p:cNvPr id="18" name="ïś1ïḑè"/>
            <p:cNvSpPr/>
            <p:nvPr/>
          </p:nvSpPr>
          <p:spPr>
            <a:xfrm>
              <a:off x="4243388" y="3225670"/>
              <a:ext cx="723900" cy="7239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 defTabSz="1218565">
                <a:defRPr/>
              </a:pPr>
              <a:r>
                <a:rPr lang="en-US" altLang="zh-CN" sz="2300" b="1" kern="0" dirty="0">
                  <a:solidFill>
                    <a:prstClr val="white"/>
                  </a:solidFill>
                </a:rPr>
                <a:t>02</a:t>
              </a:r>
              <a:endParaRPr lang="zh-CN" altLang="en-US" sz="2300" b="1" kern="0" dirty="0">
                <a:solidFill>
                  <a:prstClr val="white"/>
                </a:solidFill>
              </a:endParaRPr>
            </a:p>
          </p:txBody>
        </p:sp>
        <p:cxnSp>
          <p:nvCxnSpPr>
            <p:cNvPr id="19" name="直接箭头连接符 18"/>
            <p:cNvCxnSpPr>
              <a:endCxn id="17" idx="6"/>
            </p:cNvCxnSpPr>
            <p:nvPr/>
          </p:nvCxnSpPr>
          <p:spPr>
            <a:xfrm flipH="1" flipV="1">
              <a:off x="3986213" y="5092570"/>
              <a:ext cx="1528762" cy="462953"/>
            </a:xfrm>
            <a:prstGeom prst="straightConnector1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箭头连接符 20"/>
            <p:cNvCxnSpPr>
              <a:stCxn id="22" idx="1"/>
              <a:endCxn id="18" idx="5"/>
            </p:cNvCxnSpPr>
            <p:nvPr/>
          </p:nvCxnSpPr>
          <p:spPr>
            <a:xfrm flipH="1" flipV="1">
              <a:off x="4861275" y="3843557"/>
              <a:ext cx="823878" cy="1301119"/>
            </a:xfrm>
            <a:prstGeom prst="straightConnector1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ïṥlîďe"/>
            <p:cNvSpPr/>
            <p:nvPr/>
          </p:nvSpPr>
          <p:spPr>
            <a:xfrm>
              <a:off x="5514975" y="4974498"/>
              <a:ext cx="1162050" cy="1162050"/>
            </a:xfrm>
            <a:prstGeom prst="donut">
              <a:avLst/>
            </a:prstGeom>
            <a:pattFill prst="pct5">
              <a:fgClr>
                <a:srgbClr val="E4E6EA"/>
              </a:fgClr>
              <a:bgClr>
                <a:srgbClr val="ADB5BF"/>
              </a:bgClr>
            </a:patt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D1DADD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 defTabSz="914400"/>
              <a:r>
                <a:rPr lang="en-US" altLang="zh-CN" sz="1400" b="1" dirty="0">
                  <a:solidFill>
                    <a:schemeClr val="tx1"/>
                  </a:solidFill>
                </a:rPr>
                <a:t>Text</a:t>
              </a:r>
              <a:endParaRPr lang="zh-CN" altLang="en-US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23" name="ïṧľîdê"/>
            <p:cNvSpPr/>
            <p:nvPr/>
          </p:nvSpPr>
          <p:spPr>
            <a:xfrm>
              <a:off x="5734050" y="2361349"/>
              <a:ext cx="723900" cy="7239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 defTabSz="1218565"/>
              <a:r>
                <a:rPr lang="en-US" altLang="zh-CN" sz="2300" b="1" kern="0" dirty="0">
                  <a:solidFill>
                    <a:prstClr val="white"/>
                  </a:solidFill>
                </a:rPr>
                <a:t>03</a:t>
              </a:r>
              <a:endParaRPr lang="zh-CN" altLang="en-US" sz="2300" b="1" kern="0" dirty="0">
                <a:solidFill>
                  <a:prstClr val="white"/>
                </a:solidFill>
              </a:endParaRPr>
            </a:p>
          </p:txBody>
        </p:sp>
        <p:cxnSp>
          <p:nvCxnSpPr>
            <p:cNvPr id="24" name="直接箭头连接符 23"/>
            <p:cNvCxnSpPr>
              <a:stCxn id="22" idx="0"/>
              <a:endCxn id="23" idx="4"/>
            </p:cNvCxnSpPr>
            <p:nvPr/>
          </p:nvCxnSpPr>
          <p:spPr>
            <a:xfrm flipV="1">
              <a:off x="6096000" y="3085249"/>
              <a:ext cx="0" cy="1889249"/>
            </a:xfrm>
            <a:prstGeom prst="straightConnector1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ï$1ïdé"/>
            <p:cNvSpPr/>
            <p:nvPr/>
          </p:nvSpPr>
          <p:spPr>
            <a:xfrm>
              <a:off x="7224712" y="3225670"/>
              <a:ext cx="723900" cy="7239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 defTabSz="1218565">
                <a:defRPr/>
              </a:pPr>
              <a:r>
                <a:rPr lang="en-US" altLang="zh-CN" sz="2300" b="1" kern="0" dirty="0">
                  <a:solidFill>
                    <a:prstClr val="white"/>
                  </a:solidFill>
                </a:rPr>
                <a:t>04</a:t>
              </a:r>
              <a:endParaRPr lang="zh-CN" altLang="en-US" sz="2300" b="1" kern="0" dirty="0">
                <a:solidFill>
                  <a:prstClr val="white"/>
                </a:solidFill>
              </a:endParaRPr>
            </a:p>
          </p:txBody>
        </p:sp>
        <p:sp>
          <p:nvSpPr>
            <p:cNvPr id="26" name="îṥ1ïḍé"/>
            <p:cNvSpPr/>
            <p:nvPr/>
          </p:nvSpPr>
          <p:spPr>
            <a:xfrm>
              <a:off x="8205787" y="4730620"/>
              <a:ext cx="723900" cy="7239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 defTabSz="1218565"/>
              <a:r>
                <a:rPr lang="en-US" altLang="zh-CN" sz="2300" b="1" kern="0" dirty="0">
                  <a:solidFill>
                    <a:prstClr val="white"/>
                  </a:solidFill>
                </a:rPr>
                <a:t>05</a:t>
              </a:r>
              <a:endParaRPr lang="zh-CN" altLang="en-US" sz="2300" b="1" kern="0" dirty="0">
                <a:solidFill>
                  <a:prstClr val="white"/>
                </a:solidFill>
              </a:endParaRPr>
            </a:p>
          </p:txBody>
        </p:sp>
        <p:cxnSp>
          <p:nvCxnSpPr>
            <p:cNvPr id="27" name="直接箭头连接符 26"/>
            <p:cNvCxnSpPr>
              <a:stCxn id="22" idx="7"/>
              <a:endCxn id="25" idx="3"/>
            </p:cNvCxnSpPr>
            <p:nvPr/>
          </p:nvCxnSpPr>
          <p:spPr>
            <a:xfrm flipV="1">
              <a:off x="6506847" y="3843557"/>
              <a:ext cx="823878" cy="1301119"/>
            </a:xfrm>
            <a:prstGeom prst="straightConnector1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直接箭头连接符 27"/>
            <p:cNvCxnSpPr>
              <a:endCxn id="26" idx="2"/>
            </p:cNvCxnSpPr>
            <p:nvPr/>
          </p:nvCxnSpPr>
          <p:spPr>
            <a:xfrm flipV="1">
              <a:off x="6677025" y="5092570"/>
              <a:ext cx="1528762" cy="462953"/>
            </a:xfrm>
            <a:prstGeom prst="straightConnector1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işľïdé"/>
            <p:cNvSpPr/>
            <p:nvPr/>
          </p:nvSpPr>
          <p:spPr bwMode="auto">
            <a:xfrm>
              <a:off x="659456" y="5011775"/>
              <a:ext cx="2506663" cy="713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r">
                <a:lnSpc>
                  <a:spcPct val="120000"/>
                </a:lnSpc>
              </a:pPr>
              <a:r>
                <a:rPr lang="zh-CN" altLang="en-US" sz="2000" dirty="0"/>
                <a:t>创建和终止进程、获得和设置进程属性、等待某事件出现的系统调用。</a:t>
              </a:r>
            </a:p>
          </p:txBody>
        </p:sp>
        <p:sp>
          <p:nvSpPr>
            <p:cNvPr id="30" name="ïṧ1îḋê"/>
            <p:cNvSpPr txBox="1"/>
            <p:nvPr/>
          </p:nvSpPr>
          <p:spPr bwMode="auto">
            <a:xfrm>
              <a:off x="708025" y="4494116"/>
              <a:ext cx="2506663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/>
            <a:p>
              <a:pPr algn="r"/>
              <a:r>
                <a:rPr lang="zh-CN" altLang="en-US" sz="2400" b="1" dirty="0">
                  <a:solidFill>
                    <a:srgbClr val="0000FF"/>
                  </a:solidFill>
                </a:rPr>
                <a:t>进程控制类</a:t>
              </a:r>
              <a:endParaRPr lang="en-US" altLang="zh-CN" sz="2400" b="1" dirty="0">
                <a:solidFill>
                  <a:srgbClr val="0000FF"/>
                </a:solidFill>
              </a:endParaRPr>
            </a:p>
          </p:txBody>
        </p:sp>
        <p:sp>
          <p:nvSpPr>
            <p:cNvPr id="31" name="ïśľïdè"/>
            <p:cNvSpPr/>
            <p:nvPr/>
          </p:nvSpPr>
          <p:spPr bwMode="auto">
            <a:xfrm>
              <a:off x="1493949" y="3346116"/>
              <a:ext cx="2664759" cy="1043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r">
                <a:lnSpc>
                  <a:spcPct val="120000"/>
                </a:lnSpc>
              </a:pPr>
              <a:r>
                <a:rPr lang="zh-CN" altLang="en-US" sz="2000" dirty="0"/>
                <a:t>用于进程之间通信的系统调用。</a:t>
              </a:r>
            </a:p>
          </p:txBody>
        </p:sp>
        <p:sp>
          <p:nvSpPr>
            <p:cNvPr id="32" name="ïṥlïḍè"/>
            <p:cNvSpPr txBox="1"/>
            <p:nvPr/>
          </p:nvSpPr>
          <p:spPr bwMode="auto">
            <a:xfrm>
              <a:off x="1676399" y="2877701"/>
              <a:ext cx="2506663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/>
            <a:p>
              <a:pPr algn="r"/>
              <a:r>
                <a:rPr lang="zh-CN" altLang="en-US" sz="2400" b="1" dirty="0">
                  <a:solidFill>
                    <a:srgbClr val="0000FF"/>
                  </a:solidFill>
                </a:rPr>
                <a:t>进程通信类</a:t>
              </a:r>
            </a:p>
          </p:txBody>
        </p:sp>
        <p:grpSp>
          <p:nvGrpSpPr>
            <p:cNvPr id="33" name="íśļïdè"/>
            <p:cNvGrpSpPr/>
            <p:nvPr/>
          </p:nvGrpSpPr>
          <p:grpSpPr>
            <a:xfrm>
              <a:off x="2929730" y="1271069"/>
              <a:ext cx="7328078" cy="1032538"/>
              <a:chOff x="-915120" y="4518964"/>
              <a:chExt cx="6403890" cy="1032538"/>
            </a:xfrm>
          </p:grpSpPr>
          <p:sp>
            <p:nvSpPr>
              <p:cNvPr id="38" name="iṧlîḋe"/>
              <p:cNvSpPr/>
              <p:nvPr/>
            </p:nvSpPr>
            <p:spPr bwMode="auto">
              <a:xfrm>
                <a:off x="-915120" y="4990880"/>
                <a:ext cx="6403890" cy="5606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/>
              <a:p>
                <a:pPr algn="ctr">
                  <a:lnSpc>
                    <a:spcPct val="140000"/>
                  </a:lnSpc>
                </a:pPr>
                <a:r>
                  <a:rPr lang="zh-CN" altLang="en-US" sz="2000" dirty="0"/>
                  <a:t>打开和关闭文件、创建和删除文件、读写文件的系统调用。</a:t>
                </a:r>
              </a:p>
            </p:txBody>
          </p:sp>
          <p:sp>
            <p:nvSpPr>
              <p:cNvPr id="39" name="íš1îḑê"/>
              <p:cNvSpPr txBox="1"/>
              <p:nvPr/>
            </p:nvSpPr>
            <p:spPr bwMode="auto">
              <a:xfrm>
                <a:off x="676104" y="4518964"/>
                <a:ext cx="2287617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Autofit/>
              </a:bodyPr>
              <a:lstStyle/>
              <a:p>
                <a:pPr algn="ctr"/>
                <a:r>
                  <a:rPr lang="zh-CN" altLang="en-US" sz="2400" b="1" dirty="0">
                    <a:solidFill>
                      <a:srgbClr val="0000FF"/>
                    </a:solidFill>
                  </a:rPr>
                  <a:t>文件操纵类</a:t>
                </a:r>
              </a:p>
            </p:txBody>
          </p:sp>
        </p:grpSp>
        <p:sp>
          <p:nvSpPr>
            <p:cNvPr id="34" name="ïşḷïḓè"/>
            <p:cNvSpPr/>
            <p:nvPr/>
          </p:nvSpPr>
          <p:spPr bwMode="auto">
            <a:xfrm>
              <a:off x="8008938" y="2955287"/>
              <a:ext cx="3475038" cy="11227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2000" dirty="0"/>
                <a:t>申请设备、释放设备、设备</a:t>
              </a:r>
              <a:r>
                <a:rPr lang="en-US" altLang="zh-CN" sz="2000" dirty="0"/>
                <a:t>I/O</a:t>
              </a:r>
              <a:r>
                <a:rPr lang="zh-CN" altLang="en-US" sz="2000" dirty="0"/>
                <a:t>重定向、获得和设置设备属性等系统调用。</a:t>
              </a:r>
            </a:p>
          </p:txBody>
        </p:sp>
        <p:sp>
          <p:nvSpPr>
            <p:cNvPr id="35" name="ïṡḻiḋê"/>
            <p:cNvSpPr txBox="1"/>
            <p:nvPr/>
          </p:nvSpPr>
          <p:spPr bwMode="auto">
            <a:xfrm>
              <a:off x="7245565" y="2483364"/>
              <a:ext cx="2493963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/>
            <a:p>
              <a:r>
                <a:rPr lang="zh-CN" altLang="en-US" sz="2400" b="1" dirty="0">
                  <a:solidFill>
                    <a:srgbClr val="0000FF"/>
                  </a:solidFill>
                </a:rPr>
                <a:t>设备管理类</a:t>
              </a:r>
            </a:p>
          </p:txBody>
        </p:sp>
        <p:sp>
          <p:nvSpPr>
            <p:cNvPr id="36" name="iŝľîdê"/>
            <p:cNvSpPr/>
            <p:nvPr/>
          </p:nvSpPr>
          <p:spPr bwMode="auto">
            <a:xfrm>
              <a:off x="8919585" y="4802217"/>
              <a:ext cx="2842803" cy="16248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2000" dirty="0"/>
                <a:t>获得包括有关系统和文件的时间信息、</a:t>
              </a:r>
              <a:r>
                <a:rPr lang="en-US" altLang="zh-CN" sz="2000" dirty="0"/>
                <a:t>OS</a:t>
              </a:r>
              <a:r>
                <a:rPr lang="zh-CN" altLang="en-US" sz="2000" dirty="0"/>
                <a:t>版本、当前用户、空闲内存、磁盘等。</a:t>
              </a:r>
            </a:p>
          </p:txBody>
        </p:sp>
        <p:sp>
          <p:nvSpPr>
            <p:cNvPr id="37" name="ísļiḓè"/>
            <p:cNvSpPr txBox="1"/>
            <p:nvPr/>
          </p:nvSpPr>
          <p:spPr bwMode="auto">
            <a:xfrm>
              <a:off x="8859487" y="4389337"/>
              <a:ext cx="2493963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/>
            <a:p>
              <a:r>
                <a:rPr lang="zh-CN" altLang="en-US" sz="2400" b="1" dirty="0">
                  <a:solidFill>
                    <a:srgbClr val="0000FF"/>
                  </a:solidFill>
                </a:rPr>
                <a:t>信息维护类</a:t>
              </a:r>
            </a:p>
          </p:txBody>
        </p:sp>
      </p:grp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D9B4DF3-1647-6074-1E0B-5707269A9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课后作业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C1F03506-81F2-4DF6-604C-5579D4115D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复习第一章内容，准备下次课的第一章阶段测验</a:t>
            </a:r>
            <a:endParaRPr lang="en-US" altLang="zh-CN" dirty="0"/>
          </a:p>
          <a:p>
            <a:r>
              <a:rPr lang="zh-CN" altLang="en-US" dirty="0"/>
              <a:t>登录</a:t>
            </a:r>
            <a:r>
              <a:rPr lang="en-US" altLang="zh-CN" dirty="0">
                <a:hlinkClick r:id="rId2"/>
              </a:rPr>
              <a:t>https://www.harmonyos.com/cn/develop</a:t>
            </a:r>
            <a:endParaRPr lang="en-US" altLang="zh-CN" dirty="0"/>
          </a:p>
          <a:p>
            <a:pPr lvl="1"/>
            <a:r>
              <a:rPr lang="zh-CN" altLang="en-US" dirty="0"/>
              <a:t>了解鸿蒙操作系统</a:t>
            </a:r>
            <a:endParaRPr lang="en-US" altLang="zh-CN" dirty="0"/>
          </a:p>
          <a:p>
            <a:pPr lvl="1"/>
            <a:r>
              <a:rPr lang="zh-CN" altLang="en-US" dirty="0"/>
              <a:t>了解鸿蒙应用开发</a:t>
            </a:r>
            <a:endParaRPr lang="en-US" altLang="zh-CN" dirty="0"/>
          </a:p>
          <a:p>
            <a:pPr lvl="1"/>
            <a:r>
              <a:rPr lang="zh-CN" altLang="en-US" dirty="0"/>
              <a:t>了解鸿蒙硬件开发</a:t>
            </a:r>
            <a:endParaRPr lang="en-US" altLang="zh-CN" dirty="0"/>
          </a:p>
          <a:p>
            <a:r>
              <a:rPr lang="zh-CN" altLang="en-US" dirty="0"/>
              <a:t>观看视频了解开源软件</a:t>
            </a:r>
            <a:endParaRPr lang="en-US" altLang="zh-CN" dirty="0"/>
          </a:p>
          <a:p>
            <a:pPr lvl="1"/>
            <a:r>
              <a:rPr lang="en-US" altLang="zh-CN" dirty="0" err="1">
                <a:latin typeface="+mn-ea"/>
              </a:rPr>
              <a:t>Revoltion</a:t>
            </a:r>
            <a:r>
              <a:rPr lang="en-US" altLang="zh-CN" dirty="0">
                <a:latin typeface="+mn-ea"/>
              </a:rPr>
              <a:t> OS</a:t>
            </a:r>
          </a:p>
          <a:p>
            <a:pPr lvl="1"/>
            <a:r>
              <a:rPr lang="en-US" altLang="zh-CN" dirty="0">
                <a:latin typeface="+mn-ea"/>
              </a:rPr>
              <a:t>The code ,Linux</a:t>
            </a:r>
            <a:endParaRPr lang="zh-CN" altLang="en-US" dirty="0">
              <a:latin typeface="+mn-ea"/>
            </a:endParaRPr>
          </a:p>
          <a:p>
            <a:endParaRPr lang="en-US" altLang="zh-CN" dirty="0"/>
          </a:p>
          <a:p>
            <a:endParaRPr lang="zh-CN" altLang="en-US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117224B-8D2D-4A98-AAC3-83050241DDD4}"/>
              </a:ext>
            </a:extLst>
          </p:cNvPr>
          <p:cNvSpPr txBox="1"/>
          <p:nvPr/>
        </p:nvSpPr>
        <p:spPr>
          <a:xfrm>
            <a:off x="3864130" y="5049684"/>
            <a:ext cx="457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hlinkClick r:id="rId3"/>
              </a:rPr>
              <a:t>https://www.bilibili.com/video/av35961079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3F12C5C2-94F3-46C0-AFB4-E4D35C3C2ED3}"/>
              </a:ext>
            </a:extLst>
          </p:cNvPr>
          <p:cNvSpPr txBox="1"/>
          <p:nvPr/>
        </p:nvSpPr>
        <p:spPr>
          <a:xfrm>
            <a:off x="4327818" y="5568345"/>
            <a:ext cx="499673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hlinkClick r:id="rId4"/>
              </a:rPr>
              <a:t>https://www.bilibili.com/video/BV1us411z7X4?</a:t>
            </a:r>
            <a:endParaRPr lang="en-US" altLang="zh-CN" dirty="0">
              <a:hlinkClick r:id="rId4"/>
            </a:endParaRPr>
          </a:p>
          <a:p>
            <a:r>
              <a:rPr lang="zh-CN" altLang="en-US" dirty="0">
                <a:hlinkClick r:id="rId4"/>
              </a:rPr>
              <a:t>from=search&amp;seid=8975057507768509966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EC69C8D-5E71-170E-8FC5-C3C80B14D5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zh-CN"/>
              <a:t>2024/3/3</a:t>
            </a:r>
            <a:endParaRPr lang="zh-CN" altLang="en-US" dirty="0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51B9F8B-8917-52BD-2637-CB4616948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第一章 操作系统引论</a:t>
            </a:r>
            <a:endParaRPr lang="zh-CN" altLang="en-US" dirty="0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AC7ACD9-7DE3-8544-8061-F0C0F6D6AB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pPr/>
              <a:t>3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5342658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第一次作业</a:t>
            </a:r>
          </a:p>
        </p:txBody>
      </p:sp>
      <p:sp>
        <p:nvSpPr>
          <p:cNvPr id="7" name="流程图: 预定义过程 6"/>
          <p:cNvSpPr/>
          <p:nvPr/>
        </p:nvSpPr>
        <p:spPr>
          <a:xfrm>
            <a:off x="1846580" y="1476409"/>
            <a:ext cx="741045" cy="512445"/>
          </a:xfrm>
          <a:prstGeom prst="flowChartPredefined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</a:t>
            </a:r>
          </a:p>
        </p:txBody>
      </p:sp>
      <p:sp>
        <p:nvSpPr>
          <p:cNvPr id="8" name="立方体 7"/>
          <p:cNvSpPr/>
          <p:nvPr/>
        </p:nvSpPr>
        <p:spPr>
          <a:xfrm>
            <a:off x="1828800" y="5337844"/>
            <a:ext cx="776605" cy="776605"/>
          </a:xfrm>
          <a:prstGeom prst="cube">
            <a:avLst/>
          </a:prstGeom>
          <a:noFill/>
          <a:ln>
            <a:solidFill>
              <a:srgbClr val="0000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7</a:t>
            </a:r>
          </a:p>
        </p:txBody>
      </p:sp>
      <p:sp>
        <p:nvSpPr>
          <p:cNvPr id="9" name="圆柱形 8"/>
          <p:cNvSpPr/>
          <p:nvPr/>
        </p:nvSpPr>
        <p:spPr>
          <a:xfrm>
            <a:off x="1890395" y="4115469"/>
            <a:ext cx="653415" cy="712470"/>
          </a:xfrm>
          <a:prstGeom prst="can">
            <a:avLst/>
          </a:prstGeom>
          <a:solidFill>
            <a:srgbClr val="FFFF0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rgbClr val="7030A0"/>
                </a:solidFill>
                <a:latin typeface="Times New Roman" panose="02020603050405020304" charset="0"/>
                <a:cs typeface="Times New Roman" panose="02020603050405020304" charset="0"/>
              </a:rPr>
              <a:t>25</a:t>
            </a:r>
          </a:p>
        </p:txBody>
      </p:sp>
      <p:sp>
        <p:nvSpPr>
          <p:cNvPr id="10" name="矩形 9"/>
          <p:cNvSpPr/>
          <p:nvPr/>
        </p:nvSpPr>
        <p:spPr>
          <a:xfrm>
            <a:off x="1414780" y="1233204"/>
            <a:ext cx="9288780" cy="252031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691504" y="1965389"/>
            <a:ext cx="492443" cy="861774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zh-CN" altLang="en-US" sz="2000" dirty="0">
                <a:solidFill>
                  <a:schemeClr val="tx1"/>
                </a:solidFill>
                <a:latin typeface="+mn-ea"/>
              </a:rPr>
              <a:t>简答题</a:t>
            </a:r>
          </a:p>
        </p:txBody>
      </p:sp>
      <p:sp>
        <p:nvSpPr>
          <p:cNvPr id="12" name="矩形 11"/>
          <p:cNvSpPr/>
          <p:nvPr/>
        </p:nvSpPr>
        <p:spPr>
          <a:xfrm>
            <a:off x="1414780" y="3997994"/>
            <a:ext cx="9288780" cy="946800"/>
          </a:xfrm>
          <a:prstGeom prst="rect">
            <a:avLst/>
          </a:prstGeom>
          <a:noFill/>
          <a:ln>
            <a:solidFill>
              <a:srgbClr val="7030A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7030A0"/>
              </a:solidFill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691503" y="4066100"/>
            <a:ext cx="492443" cy="861774"/>
          </a:xfrm>
          <a:prstGeom prst="rect">
            <a:avLst/>
          </a:prstGeom>
          <a:noFill/>
          <a:ln>
            <a:noFill/>
          </a:ln>
        </p:spPr>
        <p:txBody>
          <a:bodyPr vert="eaVert" wrap="none" rtlCol="0">
            <a:spAutoFit/>
          </a:bodyPr>
          <a:lstStyle/>
          <a:p>
            <a:r>
              <a:rPr lang="zh-CN" altLang="en-US" sz="2000" dirty="0">
                <a:solidFill>
                  <a:srgbClr val="7030A0"/>
                </a:solidFill>
                <a:latin typeface="+mn-ea"/>
              </a:rPr>
              <a:t>计算题</a:t>
            </a:r>
          </a:p>
        </p:txBody>
      </p:sp>
      <p:sp>
        <p:nvSpPr>
          <p:cNvPr id="14" name="矩形 13"/>
          <p:cNvSpPr/>
          <p:nvPr/>
        </p:nvSpPr>
        <p:spPr>
          <a:xfrm>
            <a:off x="1414780" y="5252754"/>
            <a:ext cx="9288780" cy="946150"/>
          </a:xfrm>
          <a:prstGeom prst="rect">
            <a:avLst/>
          </a:prstGeom>
          <a:noFill/>
          <a:ln>
            <a:solidFill>
              <a:srgbClr val="0000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691502" y="5122484"/>
            <a:ext cx="492443" cy="1374735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zh-CN" altLang="en-US" sz="2000" dirty="0">
                <a:solidFill>
                  <a:srgbClr val="0000FF"/>
                </a:solidFill>
                <a:latin typeface="+mn-ea"/>
              </a:rPr>
              <a:t>综合应用题</a:t>
            </a:r>
          </a:p>
        </p:txBody>
      </p:sp>
      <p:sp>
        <p:nvSpPr>
          <p:cNvPr id="16" name="圆柱形 15"/>
          <p:cNvSpPr/>
          <p:nvPr/>
        </p:nvSpPr>
        <p:spPr>
          <a:xfrm>
            <a:off x="2992120" y="4115469"/>
            <a:ext cx="653415" cy="712470"/>
          </a:xfrm>
          <a:prstGeom prst="can">
            <a:avLst/>
          </a:prstGeom>
          <a:noFill/>
          <a:ln>
            <a:solidFill>
              <a:srgbClr val="7030A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rgbClr val="7030A0"/>
                </a:solidFill>
                <a:latin typeface="Times New Roman" panose="02020603050405020304" charset="0"/>
                <a:cs typeface="Times New Roman" panose="02020603050405020304" charset="0"/>
              </a:rPr>
              <a:t>26</a:t>
            </a:r>
          </a:p>
        </p:txBody>
      </p:sp>
      <p:sp>
        <p:nvSpPr>
          <p:cNvPr id="18" name="立方体 17"/>
          <p:cNvSpPr/>
          <p:nvPr/>
        </p:nvSpPr>
        <p:spPr>
          <a:xfrm>
            <a:off x="2930525" y="5337844"/>
            <a:ext cx="776605" cy="776605"/>
          </a:xfrm>
          <a:prstGeom prst="cube">
            <a:avLst/>
          </a:prstGeom>
          <a:noFill/>
          <a:ln>
            <a:solidFill>
              <a:srgbClr val="0000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8</a:t>
            </a:r>
          </a:p>
        </p:txBody>
      </p:sp>
      <p:sp>
        <p:nvSpPr>
          <p:cNvPr id="19" name="流程图: 预定义过程 18"/>
          <p:cNvSpPr/>
          <p:nvPr/>
        </p:nvSpPr>
        <p:spPr>
          <a:xfrm>
            <a:off x="2948305" y="1476409"/>
            <a:ext cx="741045" cy="512445"/>
          </a:xfrm>
          <a:prstGeom prst="flowChartPredefined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</a:t>
            </a:r>
          </a:p>
        </p:txBody>
      </p:sp>
      <p:sp>
        <p:nvSpPr>
          <p:cNvPr id="21" name="流程图: 预定义过程 20"/>
          <p:cNvSpPr/>
          <p:nvPr/>
        </p:nvSpPr>
        <p:spPr>
          <a:xfrm>
            <a:off x="4050030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3</a:t>
            </a:r>
          </a:p>
        </p:txBody>
      </p:sp>
      <p:sp>
        <p:nvSpPr>
          <p:cNvPr id="22" name="流程图: 预定义过程 21"/>
          <p:cNvSpPr/>
          <p:nvPr/>
        </p:nvSpPr>
        <p:spPr>
          <a:xfrm>
            <a:off x="5151755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4</a:t>
            </a:r>
          </a:p>
        </p:txBody>
      </p:sp>
      <p:sp>
        <p:nvSpPr>
          <p:cNvPr id="23" name="流程图: 预定义过程 22"/>
          <p:cNvSpPr/>
          <p:nvPr/>
        </p:nvSpPr>
        <p:spPr>
          <a:xfrm>
            <a:off x="6253480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5</a:t>
            </a:r>
          </a:p>
        </p:txBody>
      </p:sp>
      <p:sp>
        <p:nvSpPr>
          <p:cNvPr id="24" name="流程图: 预定义过程 23"/>
          <p:cNvSpPr/>
          <p:nvPr/>
        </p:nvSpPr>
        <p:spPr>
          <a:xfrm>
            <a:off x="7355205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6</a:t>
            </a:r>
          </a:p>
        </p:txBody>
      </p:sp>
      <p:sp>
        <p:nvSpPr>
          <p:cNvPr id="25" name="流程图: 预定义过程 24"/>
          <p:cNvSpPr/>
          <p:nvPr/>
        </p:nvSpPr>
        <p:spPr>
          <a:xfrm>
            <a:off x="8456930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7</a:t>
            </a:r>
          </a:p>
        </p:txBody>
      </p:sp>
      <p:sp>
        <p:nvSpPr>
          <p:cNvPr id="26" name="流程图: 预定义过程 25"/>
          <p:cNvSpPr/>
          <p:nvPr/>
        </p:nvSpPr>
        <p:spPr>
          <a:xfrm>
            <a:off x="9558655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8</a:t>
            </a:r>
          </a:p>
        </p:txBody>
      </p:sp>
      <p:sp>
        <p:nvSpPr>
          <p:cNvPr id="27" name="流程图: 预定义过程 26"/>
          <p:cNvSpPr/>
          <p:nvPr/>
        </p:nvSpPr>
        <p:spPr>
          <a:xfrm>
            <a:off x="1846580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9</a:t>
            </a:r>
          </a:p>
        </p:txBody>
      </p:sp>
      <p:sp>
        <p:nvSpPr>
          <p:cNvPr id="28" name="流程图: 预定义过程 27"/>
          <p:cNvSpPr/>
          <p:nvPr/>
        </p:nvSpPr>
        <p:spPr>
          <a:xfrm>
            <a:off x="2948305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0</a:t>
            </a:r>
          </a:p>
        </p:txBody>
      </p:sp>
      <p:sp>
        <p:nvSpPr>
          <p:cNvPr id="29" name="流程图: 预定义过程 28"/>
          <p:cNvSpPr/>
          <p:nvPr/>
        </p:nvSpPr>
        <p:spPr>
          <a:xfrm>
            <a:off x="4050030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1</a:t>
            </a:r>
          </a:p>
        </p:txBody>
      </p:sp>
      <p:sp>
        <p:nvSpPr>
          <p:cNvPr id="30" name="流程图: 预定义过程 29"/>
          <p:cNvSpPr/>
          <p:nvPr/>
        </p:nvSpPr>
        <p:spPr>
          <a:xfrm>
            <a:off x="5151755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2</a:t>
            </a:r>
          </a:p>
        </p:txBody>
      </p:sp>
      <p:sp>
        <p:nvSpPr>
          <p:cNvPr id="31" name="流程图: 预定义过程 30"/>
          <p:cNvSpPr/>
          <p:nvPr/>
        </p:nvSpPr>
        <p:spPr>
          <a:xfrm>
            <a:off x="6253480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3</a:t>
            </a:r>
          </a:p>
        </p:txBody>
      </p:sp>
      <p:sp>
        <p:nvSpPr>
          <p:cNvPr id="32" name="流程图: 预定义过程 31"/>
          <p:cNvSpPr/>
          <p:nvPr/>
        </p:nvSpPr>
        <p:spPr>
          <a:xfrm>
            <a:off x="7355205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4</a:t>
            </a:r>
          </a:p>
        </p:txBody>
      </p:sp>
      <p:sp>
        <p:nvSpPr>
          <p:cNvPr id="33" name="流程图: 预定义过程 32"/>
          <p:cNvSpPr/>
          <p:nvPr/>
        </p:nvSpPr>
        <p:spPr>
          <a:xfrm>
            <a:off x="8456930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5</a:t>
            </a:r>
          </a:p>
        </p:txBody>
      </p:sp>
      <p:sp>
        <p:nvSpPr>
          <p:cNvPr id="34" name="流程图: 预定义过程 33"/>
          <p:cNvSpPr/>
          <p:nvPr/>
        </p:nvSpPr>
        <p:spPr>
          <a:xfrm>
            <a:off x="9558655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6</a:t>
            </a:r>
          </a:p>
        </p:txBody>
      </p:sp>
      <p:sp>
        <p:nvSpPr>
          <p:cNvPr id="35" name="流程图: 预定义过程 34"/>
          <p:cNvSpPr/>
          <p:nvPr/>
        </p:nvSpPr>
        <p:spPr>
          <a:xfrm>
            <a:off x="1846580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7</a:t>
            </a:r>
          </a:p>
        </p:txBody>
      </p:sp>
      <p:sp>
        <p:nvSpPr>
          <p:cNvPr id="36" name="流程图: 预定义过程 35"/>
          <p:cNvSpPr/>
          <p:nvPr/>
        </p:nvSpPr>
        <p:spPr>
          <a:xfrm>
            <a:off x="2948305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8</a:t>
            </a:r>
          </a:p>
        </p:txBody>
      </p:sp>
      <p:sp>
        <p:nvSpPr>
          <p:cNvPr id="37" name="流程图: 预定义过程 36"/>
          <p:cNvSpPr/>
          <p:nvPr/>
        </p:nvSpPr>
        <p:spPr>
          <a:xfrm>
            <a:off x="4050030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9</a:t>
            </a:r>
          </a:p>
        </p:txBody>
      </p:sp>
      <p:sp>
        <p:nvSpPr>
          <p:cNvPr id="38" name="流程图: 预定义过程 37"/>
          <p:cNvSpPr/>
          <p:nvPr/>
        </p:nvSpPr>
        <p:spPr>
          <a:xfrm>
            <a:off x="5151755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0</a:t>
            </a:r>
          </a:p>
        </p:txBody>
      </p:sp>
      <p:sp>
        <p:nvSpPr>
          <p:cNvPr id="39" name="流程图: 预定义过程 38"/>
          <p:cNvSpPr/>
          <p:nvPr/>
        </p:nvSpPr>
        <p:spPr>
          <a:xfrm>
            <a:off x="6253480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1</a:t>
            </a:r>
          </a:p>
        </p:txBody>
      </p:sp>
      <p:sp>
        <p:nvSpPr>
          <p:cNvPr id="40" name="流程图: 预定义过程 39"/>
          <p:cNvSpPr/>
          <p:nvPr/>
        </p:nvSpPr>
        <p:spPr>
          <a:xfrm>
            <a:off x="7355205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2</a:t>
            </a:r>
          </a:p>
        </p:txBody>
      </p:sp>
      <p:sp>
        <p:nvSpPr>
          <p:cNvPr id="41" name="流程图: 预定义过程 40"/>
          <p:cNvSpPr/>
          <p:nvPr/>
        </p:nvSpPr>
        <p:spPr>
          <a:xfrm>
            <a:off x="8456930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3</a:t>
            </a:r>
          </a:p>
        </p:txBody>
      </p:sp>
      <p:sp>
        <p:nvSpPr>
          <p:cNvPr id="42" name="流程图: 预定义过程 41"/>
          <p:cNvSpPr/>
          <p:nvPr/>
        </p:nvSpPr>
        <p:spPr>
          <a:xfrm>
            <a:off x="9558655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4</a:t>
            </a:r>
          </a:p>
        </p:txBody>
      </p:sp>
      <p:sp>
        <p:nvSpPr>
          <p:cNvPr id="43" name="文本框 42"/>
          <p:cNvSpPr txBox="1"/>
          <p:nvPr/>
        </p:nvSpPr>
        <p:spPr>
          <a:xfrm>
            <a:off x="11064240" y="2720343"/>
            <a:ext cx="553998" cy="2554545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zh-CN" altLang="en-US" sz="2400" b="1" dirty="0">
                <a:latin typeface="+mn-ea"/>
              </a:rPr>
              <a:t>标黄色为本次作业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第二次作业</a:t>
            </a:r>
          </a:p>
        </p:txBody>
      </p:sp>
      <p:sp>
        <p:nvSpPr>
          <p:cNvPr id="10" name="矩形 9"/>
          <p:cNvSpPr/>
          <p:nvPr/>
        </p:nvSpPr>
        <p:spPr>
          <a:xfrm>
            <a:off x="1414780" y="1233204"/>
            <a:ext cx="9288780" cy="252031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691504" y="1965389"/>
            <a:ext cx="492443" cy="861774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zh-CN" altLang="en-US" sz="2000" dirty="0">
                <a:solidFill>
                  <a:schemeClr val="tx1"/>
                </a:solidFill>
                <a:latin typeface="+mn-ea"/>
              </a:rPr>
              <a:t>简答题</a:t>
            </a:r>
          </a:p>
        </p:txBody>
      </p:sp>
      <p:sp>
        <p:nvSpPr>
          <p:cNvPr id="12" name="矩形 11"/>
          <p:cNvSpPr/>
          <p:nvPr/>
        </p:nvSpPr>
        <p:spPr>
          <a:xfrm>
            <a:off x="1414780" y="3997994"/>
            <a:ext cx="9288780" cy="946800"/>
          </a:xfrm>
          <a:prstGeom prst="rect">
            <a:avLst/>
          </a:prstGeom>
          <a:noFill/>
          <a:ln>
            <a:solidFill>
              <a:srgbClr val="7030A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7030A0"/>
              </a:solidFill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691503" y="4066100"/>
            <a:ext cx="492443" cy="861774"/>
          </a:xfrm>
          <a:prstGeom prst="rect">
            <a:avLst/>
          </a:prstGeom>
          <a:noFill/>
          <a:ln>
            <a:noFill/>
          </a:ln>
        </p:spPr>
        <p:txBody>
          <a:bodyPr vert="eaVert" wrap="none" rtlCol="0">
            <a:spAutoFit/>
          </a:bodyPr>
          <a:lstStyle/>
          <a:p>
            <a:r>
              <a:rPr lang="zh-CN" altLang="en-US" sz="2000" dirty="0">
                <a:solidFill>
                  <a:srgbClr val="7030A0"/>
                </a:solidFill>
                <a:latin typeface="+mn-ea"/>
              </a:rPr>
              <a:t>计算题</a:t>
            </a:r>
          </a:p>
        </p:txBody>
      </p:sp>
      <p:sp>
        <p:nvSpPr>
          <p:cNvPr id="14" name="矩形 13"/>
          <p:cNvSpPr/>
          <p:nvPr/>
        </p:nvSpPr>
        <p:spPr>
          <a:xfrm>
            <a:off x="1414780" y="5252754"/>
            <a:ext cx="9288780" cy="946150"/>
          </a:xfrm>
          <a:prstGeom prst="rect">
            <a:avLst/>
          </a:prstGeom>
          <a:noFill/>
          <a:ln>
            <a:solidFill>
              <a:srgbClr val="0000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691502" y="5122484"/>
            <a:ext cx="492443" cy="1374735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zh-CN" altLang="en-US" sz="2000" dirty="0">
                <a:solidFill>
                  <a:srgbClr val="0000FF"/>
                </a:solidFill>
                <a:latin typeface="+mn-ea"/>
              </a:rPr>
              <a:t>综合应用题</a:t>
            </a:r>
          </a:p>
        </p:txBody>
      </p:sp>
      <p:sp>
        <p:nvSpPr>
          <p:cNvPr id="23" name="流程图: 预定义过程 22"/>
          <p:cNvSpPr/>
          <p:nvPr/>
        </p:nvSpPr>
        <p:spPr>
          <a:xfrm>
            <a:off x="6253480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5</a:t>
            </a:r>
          </a:p>
        </p:txBody>
      </p:sp>
      <p:sp>
        <p:nvSpPr>
          <p:cNvPr id="24" name="流程图: 预定义过程 23"/>
          <p:cNvSpPr/>
          <p:nvPr/>
        </p:nvSpPr>
        <p:spPr>
          <a:xfrm>
            <a:off x="7355205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6</a:t>
            </a:r>
          </a:p>
        </p:txBody>
      </p:sp>
      <p:sp>
        <p:nvSpPr>
          <p:cNvPr id="25" name="流程图: 预定义过程 24"/>
          <p:cNvSpPr/>
          <p:nvPr/>
        </p:nvSpPr>
        <p:spPr>
          <a:xfrm>
            <a:off x="8456930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7</a:t>
            </a:r>
          </a:p>
        </p:txBody>
      </p:sp>
      <p:sp>
        <p:nvSpPr>
          <p:cNvPr id="26" name="流程图: 预定义过程 25"/>
          <p:cNvSpPr/>
          <p:nvPr/>
        </p:nvSpPr>
        <p:spPr>
          <a:xfrm>
            <a:off x="9558655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8</a:t>
            </a:r>
          </a:p>
        </p:txBody>
      </p:sp>
      <p:sp>
        <p:nvSpPr>
          <p:cNvPr id="27" name="流程图: 预定义过程 26"/>
          <p:cNvSpPr/>
          <p:nvPr/>
        </p:nvSpPr>
        <p:spPr>
          <a:xfrm>
            <a:off x="1846580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9</a:t>
            </a:r>
          </a:p>
        </p:txBody>
      </p:sp>
      <p:sp>
        <p:nvSpPr>
          <p:cNvPr id="28" name="流程图: 预定义过程 27"/>
          <p:cNvSpPr/>
          <p:nvPr/>
        </p:nvSpPr>
        <p:spPr>
          <a:xfrm>
            <a:off x="2948305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0</a:t>
            </a:r>
          </a:p>
        </p:txBody>
      </p:sp>
      <p:sp>
        <p:nvSpPr>
          <p:cNvPr id="29" name="流程图: 预定义过程 28"/>
          <p:cNvSpPr/>
          <p:nvPr/>
        </p:nvSpPr>
        <p:spPr>
          <a:xfrm>
            <a:off x="4050030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1</a:t>
            </a:r>
          </a:p>
        </p:txBody>
      </p:sp>
      <p:sp>
        <p:nvSpPr>
          <p:cNvPr id="30" name="流程图: 预定义过程 29"/>
          <p:cNvSpPr/>
          <p:nvPr/>
        </p:nvSpPr>
        <p:spPr>
          <a:xfrm>
            <a:off x="5151755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2</a:t>
            </a:r>
          </a:p>
        </p:txBody>
      </p:sp>
      <p:sp>
        <p:nvSpPr>
          <p:cNvPr id="31" name="流程图: 预定义过程 30"/>
          <p:cNvSpPr/>
          <p:nvPr/>
        </p:nvSpPr>
        <p:spPr>
          <a:xfrm>
            <a:off x="6253480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3</a:t>
            </a:r>
          </a:p>
        </p:txBody>
      </p:sp>
      <p:sp>
        <p:nvSpPr>
          <p:cNvPr id="32" name="流程图: 预定义过程 31"/>
          <p:cNvSpPr/>
          <p:nvPr/>
        </p:nvSpPr>
        <p:spPr>
          <a:xfrm>
            <a:off x="7355205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4</a:t>
            </a:r>
          </a:p>
        </p:txBody>
      </p:sp>
      <p:sp>
        <p:nvSpPr>
          <p:cNvPr id="33" name="流程图: 预定义过程 32"/>
          <p:cNvSpPr/>
          <p:nvPr/>
        </p:nvSpPr>
        <p:spPr>
          <a:xfrm>
            <a:off x="8456930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5</a:t>
            </a:r>
          </a:p>
        </p:txBody>
      </p:sp>
      <p:sp>
        <p:nvSpPr>
          <p:cNvPr id="34" name="流程图: 预定义过程 33"/>
          <p:cNvSpPr/>
          <p:nvPr/>
        </p:nvSpPr>
        <p:spPr>
          <a:xfrm>
            <a:off x="9558655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6</a:t>
            </a:r>
          </a:p>
        </p:txBody>
      </p:sp>
      <p:sp>
        <p:nvSpPr>
          <p:cNvPr id="35" name="流程图: 预定义过程 34"/>
          <p:cNvSpPr/>
          <p:nvPr/>
        </p:nvSpPr>
        <p:spPr>
          <a:xfrm>
            <a:off x="1846580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7</a:t>
            </a:r>
          </a:p>
        </p:txBody>
      </p:sp>
      <p:sp>
        <p:nvSpPr>
          <p:cNvPr id="36" name="流程图: 预定义过程 35"/>
          <p:cNvSpPr/>
          <p:nvPr/>
        </p:nvSpPr>
        <p:spPr>
          <a:xfrm>
            <a:off x="2948305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8</a:t>
            </a:r>
          </a:p>
        </p:txBody>
      </p:sp>
      <p:sp>
        <p:nvSpPr>
          <p:cNvPr id="37" name="流程图: 预定义过程 36"/>
          <p:cNvSpPr/>
          <p:nvPr/>
        </p:nvSpPr>
        <p:spPr>
          <a:xfrm>
            <a:off x="4050030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9</a:t>
            </a:r>
          </a:p>
        </p:txBody>
      </p:sp>
      <p:sp>
        <p:nvSpPr>
          <p:cNvPr id="38" name="流程图: 预定义过程 37"/>
          <p:cNvSpPr/>
          <p:nvPr/>
        </p:nvSpPr>
        <p:spPr>
          <a:xfrm>
            <a:off x="5151755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0</a:t>
            </a:r>
          </a:p>
        </p:txBody>
      </p:sp>
      <p:sp>
        <p:nvSpPr>
          <p:cNvPr id="39" name="流程图: 预定义过程 38"/>
          <p:cNvSpPr/>
          <p:nvPr/>
        </p:nvSpPr>
        <p:spPr>
          <a:xfrm>
            <a:off x="6253480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1</a:t>
            </a:r>
          </a:p>
        </p:txBody>
      </p:sp>
      <p:sp>
        <p:nvSpPr>
          <p:cNvPr id="40" name="流程图: 预定义过程 39"/>
          <p:cNvSpPr/>
          <p:nvPr/>
        </p:nvSpPr>
        <p:spPr>
          <a:xfrm>
            <a:off x="7355205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2</a:t>
            </a:r>
          </a:p>
        </p:txBody>
      </p:sp>
      <p:sp>
        <p:nvSpPr>
          <p:cNvPr id="41" name="流程图: 预定义过程 40"/>
          <p:cNvSpPr/>
          <p:nvPr/>
        </p:nvSpPr>
        <p:spPr>
          <a:xfrm>
            <a:off x="8456930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3</a:t>
            </a:r>
          </a:p>
        </p:txBody>
      </p:sp>
      <p:sp>
        <p:nvSpPr>
          <p:cNvPr id="42" name="流程图: 预定义过程 41"/>
          <p:cNvSpPr/>
          <p:nvPr/>
        </p:nvSpPr>
        <p:spPr>
          <a:xfrm>
            <a:off x="9558655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4</a:t>
            </a:r>
          </a:p>
        </p:txBody>
      </p:sp>
      <p:sp>
        <p:nvSpPr>
          <p:cNvPr id="43" name="文本框 42"/>
          <p:cNvSpPr txBox="1"/>
          <p:nvPr/>
        </p:nvSpPr>
        <p:spPr>
          <a:xfrm>
            <a:off x="11064240" y="2750219"/>
            <a:ext cx="553998" cy="2554545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zh-CN" altLang="en-US" sz="2400" b="1" dirty="0">
                <a:latin typeface="+mn-ea"/>
              </a:rPr>
              <a:t>标黄色为本次作业</a:t>
            </a:r>
          </a:p>
        </p:txBody>
      </p:sp>
      <p:sp>
        <p:nvSpPr>
          <p:cNvPr id="44" name="流程图: 预定义过程 43"/>
          <p:cNvSpPr/>
          <p:nvPr/>
        </p:nvSpPr>
        <p:spPr>
          <a:xfrm>
            <a:off x="1846580" y="1463530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</a:t>
            </a:r>
          </a:p>
        </p:txBody>
      </p:sp>
      <p:sp>
        <p:nvSpPr>
          <p:cNvPr id="45" name="流程图: 预定义过程 44"/>
          <p:cNvSpPr/>
          <p:nvPr/>
        </p:nvSpPr>
        <p:spPr>
          <a:xfrm>
            <a:off x="2948305" y="1463530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</a:t>
            </a:r>
          </a:p>
        </p:txBody>
      </p:sp>
      <p:sp>
        <p:nvSpPr>
          <p:cNvPr id="46" name="流程图: 预定义过程 45"/>
          <p:cNvSpPr/>
          <p:nvPr/>
        </p:nvSpPr>
        <p:spPr>
          <a:xfrm>
            <a:off x="4050030" y="1463530"/>
            <a:ext cx="741045" cy="512445"/>
          </a:xfrm>
          <a:prstGeom prst="flowChartPredefined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3</a:t>
            </a:r>
          </a:p>
        </p:txBody>
      </p:sp>
      <p:sp>
        <p:nvSpPr>
          <p:cNvPr id="47" name="流程图: 预定义过程 46"/>
          <p:cNvSpPr/>
          <p:nvPr/>
        </p:nvSpPr>
        <p:spPr>
          <a:xfrm>
            <a:off x="5151755" y="1463530"/>
            <a:ext cx="741045" cy="512445"/>
          </a:xfrm>
          <a:prstGeom prst="flowChartPredefined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4</a:t>
            </a:r>
          </a:p>
        </p:txBody>
      </p:sp>
      <p:sp>
        <p:nvSpPr>
          <p:cNvPr id="48" name="圆柱形 47"/>
          <p:cNvSpPr/>
          <p:nvPr/>
        </p:nvSpPr>
        <p:spPr>
          <a:xfrm>
            <a:off x="1846580" y="4112702"/>
            <a:ext cx="653415" cy="712470"/>
          </a:xfrm>
          <a:prstGeom prst="can">
            <a:avLst/>
          </a:prstGeom>
          <a:noFill/>
          <a:ln>
            <a:solidFill>
              <a:srgbClr val="7030A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rgbClr val="7030A0"/>
                </a:solidFill>
                <a:latin typeface="Times New Roman" panose="02020603050405020304" charset="0"/>
                <a:cs typeface="Times New Roman" panose="02020603050405020304" charset="0"/>
              </a:rPr>
              <a:t>25</a:t>
            </a:r>
          </a:p>
        </p:txBody>
      </p:sp>
      <p:sp>
        <p:nvSpPr>
          <p:cNvPr id="49" name="圆柱形 48"/>
          <p:cNvSpPr/>
          <p:nvPr/>
        </p:nvSpPr>
        <p:spPr>
          <a:xfrm>
            <a:off x="2948305" y="4112702"/>
            <a:ext cx="653415" cy="712470"/>
          </a:xfrm>
          <a:prstGeom prst="can">
            <a:avLst/>
          </a:prstGeom>
          <a:solidFill>
            <a:srgbClr val="FFFF0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rgbClr val="7030A0"/>
                </a:solidFill>
                <a:latin typeface="Times New Roman" panose="02020603050405020304" charset="0"/>
                <a:cs typeface="Times New Roman" panose="02020603050405020304" charset="0"/>
              </a:rPr>
              <a:t>26</a:t>
            </a:r>
          </a:p>
        </p:txBody>
      </p:sp>
      <p:sp>
        <p:nvSpPr>
          <p:cNvPr id="50" name="立方体 49"/>
          <p:cNvSpPr/>
          <p:nvPr/>
        </p:nvSpPr>
        <p:spPr>
          <a:xfrm>
            <a:off x="1828800" y="5337844"/>
            <a:ext cx="776605" cy="776605"/>
          </a:xfrm>
          <a:prstGeom prst="cube">
            <a:avLst/>
          </a:prstGeom>
          <a:solidFill>
            <a:srgbClr val="FFFF00"/>
          </a:solidFill>
          <a:ln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7</a:t>
            </a:r>
          </a:p>
        </p:txBody>
      </p:sp>
      <p:sp>
        <p:nvSpPr>
          <p:cNvPr id="51" name="立方体 50"/>
          <p:cNvSpPr/>
          <p:nvPr/>
        </p:nvSpPr>
        <p:spPr>
          <a:xfrm>
            <a:off x="2930525" y="5337844"/>
            <a:ext cx="776605" cy="776605"/>
          </a:xfrm>
          <a:prstGeom prst="cube">
            <a:avLst/>
          </a:prstGeom>
          <a:solidFill>
            <a:srgbClr val="FFFF00"/>
          </a:solidFill>
          <a:ln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8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课程思政小讲堂</a:t>
            </a:r>
          </a:p>
        </p:txBody>
      </p:sp>
      <p:sp>
        <p:nvSpPr>
          <p:cNvPr id="52" name="内容占位符 3"/>
          <p:cNvSpPr txBox="1"/>
          <p:nvPr/>
        </p:nvSpPr>
        <p:spPr>
          <a:xfrm>
            <a:off x="1069419" y="1109446"/>
            <a:ext cx="10267365" cy="542951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zh-CN" altLang="zh-CN" sz="2400" dirty="0">
                <a:solidFill>
                  <a:srgbClr val="0000FF"/>
                </a:solidFill>
                <a:latin typeface="+mn-ea"/>
                <a:cs typeface="黑体" panose="02010609060101010101" charset="-122"/>
              </a:rPr>
              <a:t>Windows应用初期，Linux问世之际，国产操作系统发展何如？</a:t>
            </a:r>
          </a:p>
          <a:p>
            <a:pPr marL="0" indent="0" algn="just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zh-CN" altLang="zh-CN" sz="2400" dirty="0">
                <a:latin typeface="+mn-ea"/>
                <a:cs typeface="Times New Roman" panose="02020603050405020304" charset="0"/>
                <a:sym typeface="+mn-ea"/>
              </a:rPr>
              <a:t>        </a:t>
            </a:r>
            <a:r>
              <a:rPr lang="zh-CN" sz="2400" dirty="0">
                <a:latin typeface="+mn-ea"/>
                <a:cs typeface="Times New Roman" panose="02020603050405020304" charset="0"/>
              </a:rPr>
              <a:t>纵观操作系统的发展史，可谓源远流长。</a:t>
            </a:r>
          </a:p>
          <a:p>
            <a:pPr marL="0" indent="0" algn="just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zh-CN" altLang="zh-CN" sz="2400" dirty="0">
                <a:latin typeface="+mn-ea"/>
                <a:cs typeface="Times New Roman" panose="02020603050405020304" charset="0"/>
                <a:sym typeface="+mn-ea"/>
              </a:rPr>
              <a:t>        </a:t>
            </a:r>
            <a:r>
              <a:rPr lang="zh-CN" sz="2400" dirty="0">
                <a:latin typeface="+mn-ea"/>
                <a:cs typeface="Times New Roman" panose="02020603050405020304" charset="0"/>
              </a:rPr>
              <a:t>早在20世纪40年代中期，便出现了世界上第一台真正的“电子计算机”，即电子数字计算机（electronic numerical integrator and computer，ENIAC）。此后，便逐步产生了对计算机操作系统的紧迫需求。</a:t>
            </a:r>
          </a:p>
          <a:p>
            <a:pPr marL="0" indent="0" algn="just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zh-CN" altLang="zh-CN" sz="2400" dirty="0">
                <a:latin typeface="+mn-ea"/>
                <a:cs typeface="Times New Roman" panose="02020603050405020304" charset="0"/>
                <a:sym typeface="+mn-ea"/>
              </a:rPr>
              <a:t>        </a:t>
            </a:r>
            <a:r>
              <a:rPr lang="zh-CN" sz="2400" dirty="0">
                <a:latin typeface="+mn-ea"/>
                <a:cs typeface="Times New Roman" panose="02020603050405020304" charset="0"/>
              </a:rPr>
              <a:t>在此背景下，各类操作系统不断涌现，其中较为成功的（早期）操作系统当属UNIX系统，其面向使用者提供了多任务、多层次的软件计算环境，并逐步发展成为主机时代的操作系统。UNIX系统由于较为成功且代码公开，在高校实验教学过程中应用较多。随后，在众多教育工作者和操作系统爱好者的努力下，由UNIX系统教学代码衍生出了UNIX系统的多个发行版本，如伯克利软件套件（Berkeley software distribution，BSD）等。</a:t>
            </a: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课程思政小讲堂</a:t>
            </a:r>
          </a:p>
        </p:txBody>
      </p:sp>
      <p:sp>
        <p:nvSpPr>
          <p:cNvPr id="52" name="内容占位符 3"/>
          <p:cNvSpPr txBox="1"/>
          <p:nvPr/>
        </p:nvSpPr>
        <p:spPr>
          <a:xfrm>
            <a:off x="1068849" y="1473430"/>
            <a:ext cx="10054301" cy="441246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zh-CN" altLang="zh-CN" sz="2400" dirty="0">
                <a:solidFill>
                  <a:srgbClr val="0000FF"/>
                </a:solidFill>
                <a:latin typeface="+mn-ea"/>
                <a:cs typeface="黑体" panose="02010609060101010101" charset="-122"/>
              </a:rPr>
              <a:t>Windows应用初期，Linux问世之际，国产操作系统发展何如？</a:t>
            </a:r>
          </a:p>
          <a:p>
            <a:pPr marL="0" indent="0" algn="just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altLang="zh-CN" sz="2400" dirty="0">
                <a:latin typeface="+mn-ea"/>
                <a:cs typeface="Times New Roman" panose="02020603050405020304" charset="0"/>
              </a:rPr>
              <a:t>	</a:t>
            </a:r>
            <a:r>
              <a:rPr lang="zh-CN" sz="2400" dirty="0">
                <a:latin typeface="+mn-ea"/>
                <a:cs typeface="Times New Roman" panose="02020603050405020304" charset="0"/>
              </a:rPr>
              <a:t>1991年10月5日，林纳斯·托瓦兹（Linux Torvalds）对外发布了其独立开发的类UNIX操作系统内核，当该内核与GNU计划（自由软件集体协作计划）相结合时，便形成了我们现在所熟知的开源（开放源代码）Linux系统。至此，Linux问世。</a:t>
            </a:r>
            <a:endParaRPr lang="en-US" altLang="zh-CN" sz="2400" dirty="0">
              <a:latin typeface="+mn-ea"/>
              <a:cs typeface="Times New Roman" panose="02020603050405020304" charset="0"/>
            </a:endParaRPr>
          </a:p>
          <a:p>
            <a:pPr marL="0" indent="0" algn="just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zh-CN" altLang="en-US" sz="2400" dirty="0">
                <a:latin typeface="+mn-ea"/>
                <a:cs typeface="Times New Roman" panose="02020603050405020304" charset="0"/>
              </a:rPr>
              <a:t> </a:t>
            </a:r>
            <a:r>
              <a:rPr lang="en-US" altLang="zh-CN" sz="2400" dirty="0">
                <a:latin typeface="+mn-ea"/>
                <a:cs typeface="Times New Roman" panose="02020603050405020304" charset="0"/>
              </a:rPr>
              <a:t>	</a:t>
            </a:r>
            <a:r>
              <a:rPr lang="zh-CN" altLang="en-US" sz="2400" dirty="0">
                <a:latin typeface="+mn-ea"/>
                <a:cs typeface="Times New Roman" panose="02020603050405020304" charset="0"/>
              </a:rPr>
              <a:t>与</a:t>
            </a:r>
            <a:r>
              <a:rPr lang="en-US" altLang="zh-CN" sz="2400" dirty="0">
                <a:latin typeface="+mn-ea"/>
                <a:cs typeface="Times New Roman" panose="02020603050405020304" charset="0"/>
              </a:rPr>
              <a:t>Linux</a:t>
            </a:r>
            <a:r>
              <a:rPr lang="zh-CN" altLang="en-US" sz="2400" dirty="0">
                <a:latin typeface="+mn-ea"/>
                <a:cs typeface="Times New Roman" panose="02020603050405020304" charset="0"/>
              </a:rPr>
              <a:t>发展完全不同的另一个典型操作系统，便是由微软公司研发的</a:t>
            </a:r>
            <a:r>
              <a:rPr lang="en-US" altLang="zh-CN" sz="2400" dirty="0">
                <a:latin typeface="+mn-ea"/>
                <a:cs typeface="Times New Roman" panose="02020603050405020304" charset="0"/>
              </a:rPr>
              <a:t>Windows</a:t>
            </a:r>
            <a:r>
              <a:rPr lang="zh-CN" altLang="en-US" sz="2400" dirty="0">
                <a:latin typeface="+mn-ea"/>
                <a:cs typeface="Times New Roman" panose="02020603050405020304" charset="0"/>
              </a:rPr>
              <a:t>系统，其于</a:t>
            </a:r>
            <a:r>
              <a:rPr lang="en-US" altLang="zh-CN" sz="2400" dirty="0">
                <a:latin typeface="+mn-ea"/>
                <a:cs typeface="Times New Roman" panose="02020603050405020304" charset="0"/>
              </a:rPr>
              <a:t>1985</a:t>
            </a:r>
            <a:r>
              <a:rPr lang="zh-CN" altLang="en-US" sz="2400" dirty="0">
                <a:latin typeface="+mn-ea"/>
                <a:cs typeface="Times New Roman" panose="02020603050405020304" charset="0"/>
              </a:rPr>
              <a:t>问世之初仅是</a:t>
            </a:r>
            <a:r>
              <a:rPr lang="en-US" altLang="zh-CN" sz="2400" dirty="0">
                <a:latin typeface="+mn-ea"/>
                <a:cs typeface="Times New Roman" panose="02020603050405020304" charset="0"/>
              </a:rPr>
              <a:t>Microsoft-DOS</a:t>
            </a:r>
            <a:r>
              <a:rPr lang="zh-CN" altLang="en-US" sz="2400" dirty="0">
                <a:latin typeface="+mn-ea"/>
                <a:cs typeface="Times New Roman" panose="02020603050405020304" charset="0"/>
              </a:rPr>
              <a:t>模拟环境，之后经过不断完善系统体验、丰富图形用户界面，逐步变为目前全世界使用最广泛的计算机操作系统。</a:t>
            </a:r>
            <a:endParaRPr lang="zh-CN" sz="2400" dirty="0">
              <a:latin typeface="+mn-ea"/>
              <a:cs typeface="Times New Roman" panose="02020603050405020304" charset="0"/>
            </a:endParaRP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课程思政小讲堂</a:t>
            </a:r>
          </a:p>
        </p:txBody>
      </p:sp>
      <p:sp>
        <p:nvSpPr>
          <p:cNvPr id="4" name="内容占位符 3"/>
          <p:cNvSpPr txBox="1"/>
          <p:nvPr/>
        </p:nvSpPr>
        <p:spPr>
          <a:xfrm>
            <a:off x="1237525" y="1610725"/>
            <a:ext cx="9716949" cy="420602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5000"/>
              </a:lnSpc>
              <a:spcBef>
                <a:spcPts val="5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zh-CN" altLang="zh-CN" sz="2400" dirty="0">
                <a:solidFill>
                  <a:srgbClr val="0000FF"/>
                </a:solidFill>
                <a:latin typeface="+mn-ea"/>
                <a:cs typeface="黑体" panose="02010609060101010101" charset="-122"/>
              </a:rPr>
              <a:t>Windows应用初期，Linux问世之际，国产操作系统发展何如？</a:t>
            </a:r>
            <a:endParaRPr lang="zh-CN" altLang="zh-CN" sz="2400" dirty="0">
              <a:latin typeface="+mn-ea"/>
              <a:cs typeface="Times New Roman" panose="02020603050405020304" charset="0"/>
              <a:sym typeface="+mn-ea"/>
            </a:endParaRPr>
          </a:p>
          <a:p>
            <a:pPr marL="0" indent="0" algn="just">
              <a:lnSpc>
                <a:spcPct val="125000"/>
              </a:lnSpc>
              <a:buFont typeface="Arial" panose="020B0604020202020204" pitchFamily="34" charset="0"/>
              <a:buNone/>
            </a:pPr>
            <a:r>
              <a:rPr lang="en-US" altLang="zh-CN" sz="2400" dirty="0">
                <a:latin typeface="+mn-ea"/>
                <a:cs typeface="Times New Roman" panose="02020603050405020304" charset="0"/>
              </a:rPr>
              <a:t>	</a:t>
            </a:r>
            <a:r>
              <a:rPr lang="zh-CN" sz="2400" dirty="0">
                <a:latin typeface="+mn-ea"/>
                <a:cs typeface="Times New Roman" panose="02020603050405020304" charset="0"/>
              </a:rPr>
              <a:t>值得一提的是，在Windows应用初期/Linux问世之际的几乎同一时间，即20世纪90年代初，我国出于操作系统本质安全和国家信息产业安全的考虑，便开始倡导自主研发国产操作系统（知识产权归属于我国）。</a:t>
            </a:r>
          </a:p>
          <a:p>
            <a:pPr marL="0" indent="0" algn="just">
              <a:lnSpc>
                <a:spcPct val="125000"/>
              </a:lnSpc>
              <a:buFont typeface="Arial" panose="020B0604020202020204" pitchFamily="34" charset="0"/>
              <a:buNone/>
            </a:pPr>
            <a:r>
              <a:rPr lang="zh-CN" altLang="zh-CN" sz="2400" dirty="0">
                <a:latin typeface="+mn-ea"/>
                <a:cs typeface="Times New Roman" panose="02020603050405020304" charset="0"/>
                <a:sym typeface="+mn-ea"/>
              </a:rPr>
              <a:t>        </a:t>
            </a:r>
            <a:r>
              <a:rPr lang="zh-CN" sz="2400" u="sng" dirty="0">
                <a:latin typeface="+mn-ea"/>
                <a:cs typeface="Times New Roman" panose="02020603050405020304" charset="0"/>
              </a:rPr>
              <a:t>由此可见，国家对自主可控的国产操作系统研发工作历来尤为重视。</a:t>
            </a:r>
            <a:r>
              <a:rPr lang="zh-CN" sz="2400" dirty="0">
                <a:latin typeface="+mn-ea"/>
                <a:cs typeface="Times New Roman" panose="02020603050405020304" charset="0"/>
              </a:rPr>
              <a:t>那么，作为社会进步与国家发展的中流砥柱——知识分子与科技人才又当何以作为，每每发人深思！</a:t>
            </a: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895761" y="2739021"/>
            <a:ext cx="6536871" cy="2390427"/>
          </a:xfrm>
        </p:spPr>
        <p:txBody>
          <a:bodyPr>
            <a:normAutofit/>
          </a:bodyPr>
          <a:lstStyle/>
          <a:p>
            <a:r>
              <a:rPr lang="zh-CN" altLang="en-US" sz="6600" dirty="0"/>
              <a:t>学 习 进 步 ！</a:t>
            </a:r>
            <a:endParaRPr lang="zh-CN" altLang="en-US" sz="4000" dirty="0"/>
          </a:p>
        </p:txBody>
      </p:sp>
      <p:sp>
        <p:nvSpPr>
          <p:cNvPr id="8" name="任意多边形: 形状 7"/>
          <p:cNvSpPr/>
          <p:nvPr/>
        </p:nvSpPr>
        <p:spPr>
          <a:xfrm>
            <a:off x="669925" y="2344255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: 圆角 13"/>
          <p:cNvSpPr/>
          <p:nvPr/>
        </p:nvSpPr>
        <p:spPr>
          <a:xfrm>
            <a:off x="744076" y="6241020"/>
            <a:ext cx="4366476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作者：汤小丹、王红玲、姜华、汤子瀛</a:t>
            </a:r>
          </a:p>
        </p:txBody>
      </p:sp>
      <p:sp>
        <p:nvSpPr>
          <p:cNvPr id="11" name="矩形 10"/>
          <p:cNvSpPr/>
          <p:nvPr/>
        </p:nvSpPr>
        <p:spPr>
          <a:xfrm>
            <a:off x="1243012" y="602297"/>
            <a:ext cx="469872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经典教材《计算机操作系统》</a:t>
            </a:r>
            <a:r>
              <a:rPr lang="zh-CN" altLang="en-US" sz="2200" b="1" dirty="0">
                <a:solidFill>
                  <a:schemeClr val="accent2"/>
                </a:solidFill>
                <a:sym typeface="+mn-ea"/>
              </a:rPr>
              <a:t>最新版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3475" y="2592475"/>
            <a:ext cx="2508000" cy="3554241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6400" y="522760"/>
            <a:ext cx="527050" cy="52705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操作系统的运行环境</a:t>
            </a:r>
            <a:r>
              <a:rPr lang="en-US" altLang="zh-CN" sz="2800" b="1" dirty="0">
                <a:solidFill>
                  <a:schemeClr val="bg1"/>
                </a:solidFill>
              </a:rPr>
              <a:t>——</a:t>
            </a:r>
            <a:r>
              <a:rPr lang="zh-CN" altLang="en-US" sz="2800" b="1" dirty="0">
                <a:solidFill>
                  <a:schemeClr val="bg1"/>
                </a:solidFill>
              </a:rPr>
              <a:t>硬件支持</a:t>
            </a:r>
          </a:p>
        </p:txBody>
      </p:sp>
      <p:grpSp>
        <p:nvGrpSpPr>
          <p:cNvPr id="39" name="20411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1711651"/>
            <a:ext cx="10848976" cy="4000820"/>
            <a:chOff x="669924" y="2239685"/>
            <a:chExt cx="10848976" cy="4000820"/>
          </a:xfrm>
        </p:grpSpPr>
        <p:sp>
          <p:nvSpPr>
            <p:cNvPr id="58" name="ïsḷîde"/>
            <p:cNvSpPr/>
            <p:nvPr/>
          </p:nvSpPr>
          <p:spPr bwMode="auto">
            <a:xfrm>
              <a:off x="673100" y="2982961"/>
              <a:ext cx="2628292" cy="1311179"/>
            </a:xfrm>
            <a:prstGeom prst="hexagon">
              <a:avLst/>
            </a:prstGeom>
            <a:solidFill>
              <a:schemeClr val="accent1"/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en-US" altLang="zh-CN" sz="32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59" name="îSḷïḋe"/>
            <p:cNvSpPr/>
            <p:nvPr/>
          </p:nvSpPr>
          <p:spPr bwMode="auto">
            <a:xfrm>
              <a:off x="2727477" y="2982961"/>
              <a:ext cx="2628292" cy="1311179"/>
            </a:xfrm>
            <a:prstGeom prst="hexagon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en-US" altLang="zh-CN" sz="32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60" name="íšļíḍè"/>
            <p:cNvSpPr/>
            <p:nvPr/>
          </p:nvSpPr>
          <p:spPr bwMode="auto">
            <a:xfrm>
              <a:off x="4781854" y="2982961"/>
              <a:ext cx="2628292" cy="1311179"/>
            </a:xfrm>
            <a:prstGeom prst="hexagon">
              <a:avLst/>
            </a:prstGeom>
            <a:solidFill>
              <a:schemeClr val="accent1"/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en-US" altLang="zh-CN" sz="32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61" name="îṧḷíḋé"/>
            <p:cNvSpPr/>
            <p:nvPr/>
          </p:nvSpPr>
          <p:spPr bwMode="auto">
            <a:xfrm>
              <a:off x="6836231" y="2982961"/>
              <a:ext cx="2628292" cy="1311179"/>
            </a:xfrm>
            <a:prstGeom prst="hexagon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en-US" altLang="zh-CN" sz="32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62" name="íṣlíḍè"/>
            <p:cNvSpPr/>
            <p:nvPr/>
          </p:nvSpPr>
          <p:spPr bwMode="auto">
            <a:xfrm>
              <a:off x="8890608" y="2982961"/>
              <a:ext cx="2628292" cy="1311179"/>
            </a:xfrm>
            <a:prstGeom prst="hexagon">
              <a:avLst/>
            </a:prstGeom>
            <a:solidFill>
              <a:schemeClr val="accent1"/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en-US" altLang="zh-CN" sz="32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63" name="îṧlîḍe"/>
            <p:cNvSpPr/>
            <p:nvPr/>
          </p:nvSpPr>
          <p:spPr bwMode="auto">
            <a:xfrm>
              <a:off x="7866670" y="3365703"/>
              <a:ext cx="567414" cy="545694"/>
            </a:xfrm>
            <a:custGeom>
              <a:avLst/>
              <a:gdLst>
                <a:gd name="connsiteX0" fmla="*/ 61288 w 609549"/>
                <a:gd name="connsiteY0" fmla="*/ 383285 h 586216"/>
                <a:gd name="connsiteX1" fmla="*/ 71162 w 609549"/>
                <a:gd name="connsiteY1" fmla="*/ 387101 h 586216"/>
                <a:gd name="connsiteX2" fmla="*/ 120018 w 609549"/>
                <a:gd name="connsiteY2" fmla="*/ 435892 h 586216"/>
                <a:gd name="connsiteX3" fmla="*/ 120018 w 609549"/>
                <a:gd name="connsiteY3" fmla="*/ 454200 h 586216"/>
                <a:gd name="connsiteX4" fmla="*/ 56639 w 609549"/>
                <a:gd name="connsiteY4" fmla="*/ 517543 h 586216"/>
                <a:gd name="connsiteX5" fmla="*/ 35592 w 609549"/>
                <a:gd name="connsiteY5" fmla="*/ 513644 h 586216"/>
                <a:gd name="connsiteX6" fmla="*/ 51877 w 609549"/>
                <a:gd name="connsiteY6" fmla="*/ 388099 h 586216"/>
                <a:gd name="connsiteX7" fmla="*/ 61288 w 609549"/>
                <a:gd name="connsiteY7" fmla="*/ 383285 h 586216"/>
                <a:gd name="connsiteX8" fmla="*/ 235245 w 609549"/>
                <a:gd name="connsiteY8" fmla="*/ 302810 h 586216"/>
                <a:gd name="connsiteX9" fmla="*/ 306042 w 609549"/>
                <a:gd name="connsiteY9" fmla="*/ 373466 h 586216"/>
                <a:gd name="connsiteX10" fmla="*/ 258717 w 609549"/>
                <a:gd name="connsiteY10" fmla="*/ 420680 h 586216"/>
                <a:gd name="connsiteX11" fmla="*/ 230246 w 609549"/>
                <a:gd name="connsiteY11" fmla="*/ 550152 h 586216"/>
                <a:gd name="connsiteX12" fmla="*/ 92223 w 609549"/>
                <a:gd name="connsiteY12" fmla="*/ 575305 h 586216"/>
                <a:gd name="connsiteX13" fmla="*/ 88748 w 609549"/>
                <a:gd name="connsiteY13" fmla="*/ 556143 h 586216"/>
                <a:gd name="connsiteX14" fmla="*/ 165115 w 609549"/>
                <a:gd name="connsiteY14" fmla="*/ 479877 h 586216"/>
                <a:gd name="connsiteX15" fmla="*/ 165115 w 609549"/>
                <a:gd name="connsiteY15" fmla="*/ 446308 h 586216"/>
                <a:gd name="connsiteX16" fmla="*/ 88700 w 609549"/>
                <a:gd name="connsiteY16" fmla="*/ 369995 h 586216"/>
                <a:gd name="connsiteX17" fmla="*/ 92128 w 609549"/>
                <a:gd name="connsiteY17" fmla="*/ 350976 h 586216"/>
                <a:gd name="connsiteX18" fmla="*/ 189111 w 609549"/>
                <a:gd name="connsiteY18" fmla="*/ 348884 h 586216"/>
                <a:gd name="connsiteX19" fmla="*/ 257958 w 609549"/>
                <a:gd name="connsiteY19" fmla="*/ 161679 h 586216"/>
                <a:gd name="connsiteX20" fmla="*/ 317251 w 609549"/>
                <a:gd name="connsiteY20" fmla="*/ 220879 h 586216"/>
                <a:gd name="connsiteX21" fmla="*/ 388070 w 609549"/>
                <a:gd name="connsiteY21" fmla="*/ 291586 h 586216"/>
                <a:gd name="connsiteX22" fmla="*/ 604906 w 609549"/>
                <a:gd name="connsiteY22" fmla="*/ 508130 h 586216"/>
                <a:gd name="connsiteX23" fmla="*/ 604906 w 609549"/>
                <a:gd name="connsiteY23" fmla="*/ 530526 h 586216"/>
                <a:gd name="connsiteX24" fmla="*/ 556567 w 609549"/>
                <a:gd name="connsiteY24" fmla="*/ 578789 h 586216"/>
                <a:gd name="connsiteX25" fmla="*/ 545327 w 609549"/>
                <a:gd name="connsiteY25" fmla="*/ 583449 h 586216"/>
                <a:gd name="connsiteX26" fmla="*/ 534135 w 609549"/>
                <a:gd name="connsiteY26" fmla="*/ 578789 h 586216"/>
                <a:gd name="connsiteX27" fmla="*/ 317251 w 609549"/>
                <a:gd name="connsiteY27" fmla="*/ 362293 h 586216"/>
                <a:gd name="connsiteX28" fmla="*/ 246481 w 609549"/>
                <a:gd name="connsiteY28" fmla="*/ 291586 h 586216"/>
                <a:gd name="connsiteX29" fmla="*/ 187140 w 609549"/>
                <a:gd name="connsiteY29" fmla="*/ 232339 h 586216"/>
                <a:gd name="connsiteX30" fmla="*/ 58606 w 609549"/>
                <a:gd name="connsiteY30" fmla="*/ 160814 h 586216"/>
                <a:gd name="connsiteX31" fmla="*/ 126401 w 609549"/>
                <a:gd name="connsiteY31" fmla="*/ 228498 h 586216"/>
                <a:gd name="connsiteX32" fmla="*/ 111975 w 609549"/>
                <a:gd name="connsiteY32" fmla="*/ 242899 h 586216"/>
                <a:gd name="connsiteX33" fmla="*/ 119307 w 609549"/>
                <a:gd name="connsiteY33" fmla="*/ 250219 h 586216"/>
                <a:gd name="connsiteX34" fmla="*/ 119307 w 609549"/>
                <a:gd name="connsiteY34" fmla="*/ 277692 h 586216"/>
                <a:gd name="connsiteX35" fmla="*/ 115641 w 609549"/>
                <a:gd name="connsiteY35" fmla="*/ 281352 h 586216"/>
                <a:gd name="connsiteX36" fmla="*/ 88123 w 609549"/>
                <a:gd name="connsiteY36" fmla="*/ 281352 h 586216"/>
                <a:gd name="connsiteX37" fmla="*/ 5712 w 609549"/>
                <a:gd name="connsiteY37" fmla="*/ 199029 h 586216"/>
                <a:gd name="connsiteX38" fmla="*/ 5712 w 609549"/>
                <a:gd name="connsiteY38" fmla="*/ 171604 h 586216"/>
                <a:gd name="connsiteX39" fmla="*/ 9378 w 609549"/>
                <a:gd name="connsiteY39" fmla="*/ 167944 h 586216"/>
                <a:gd name="connsiteX40" fmla="*/ 36849 w 609549"/>
                <a:gd name="connsiteY40" fmla="*/ 167944 h 586216"/>
                <a:gd name="connsiteX41" fmla="*/ 44180 w 609549"/>
                <a:gd name="connsiteY41" fmla="*/ 175264 h 586216"/>
                <a:gd name="connsiteX42" fmla="*/ 585775 w 609549"/>
                <a:gd name="connsiteY42" fmla="*/ 66370 h 586216"/>
                <a:gd name="connsiteX43" fmla="*/ 595263 w 609549"/>
                <a:gd name="connsiteY43" fmla="*/ 73839 h 586216"/>
                <a:gd name="connsiteX44" fmla="*/ 578978 w 609549"/>
                <a:gd name="connsiteY44" fmla="*/ 199341 h 586216"/>
                <a:gd name="connsiteX45" fmla="*/ 559693 w 609549"/>
                <a:gd name="connsiteY45" fmla="*/ 200387 h 586216"/>
                <a:gd name="connsiteX46" fmla="*/ 510789 w 609549"/>
                <a:gd name="connsiteY46" fmla="*/ 151612 h 586216"/>
                <a:gd name="connsiteX47" fmla="*/ 510789 w 609549"/>
                <a:gd name="connsiteY47" fmla="*/ 133262 h 586216"/>
                <a:gd name="connsiteX48" fmla="*/ 574216 w 609549"/>
                <a:gd name="connsiteY48" fmla="*/ 69988 h 586216"/>
                <a:gd name="connsiteX49" fmla="*/ 585775 w 609549"/>
                <a:gd name="connsiteY49" fmla="*/ 66370 h 586216"/>
                <a:gd name="connsiteX50" fmla="*/ 158702 w 609549"/>
                <a:gd name="connsiteY50" fmla="*/ 26758 h 586216"/>
                <a:gd name="connsiteX51" fmla="*/ 172463 w 609549"/>
                <a:gd name="connsiteY51" fmla="*/ 32464 h 586216"/>
                <a:gd name="connsiteX52" fmla="*/ 179701 w 609549"/>
                <a:gd name="connsiteY52" fmla="*/ 39691 h 586216"/>
                <a:gd name="connsiteX53" fmla="*/ 246935 w 609549"/>
                <a:gd name="connsiteY53" fmla="*/ 106831 h 586216"/>
                <a:gd name="connsiteX54" fmla="*/ 254886 w 609549"/>
                <a:gd name="connsiteY54" fmla="*/ 114819 h 586216"/>
                <a:gd name="connsiteX55" fmla="*/ 257600 w 609549"/>
                <a:gd name="connsiteY55" fmla="*/ 138879 h 586216"/>
                <a:gd name="connsiteX56" fmla="*/ 254886 w 609549"/>
                <a:gd name="connsiteY56" fmla="*/ 142255 h 586216"/>
                <a:gd name="connsiteX57" fmla="*/ 252315 w 609549"/>
                <a:gd name="connsiteY57" fmla="*/ 144823 h 586216"/>
                <a:gd name="connsiteX58" fmla="*/ 246696 w 609549"/>
                <a:gd name="connsiteY58" fmla="*/ 150434 h 586216"/>
                <a:gd name="connsiteX59" fmla="*/ 175892 w 609549"/>
                <a:gd name="connsiteY59" fmla="*/ 221140 h 586216"/>
                <a:gd name="connsiteX60" fmla="*/ 172463 w 609549"/>
                <a:gd name="connsiteY60" fmla="*/ 224611 h 586216"/>
                <a:gd name="connsiteX61" fmla="*/ 170130 w 609549"/>
                <a:gd name="connsiteY61" fmla="*/ 226560 h 586216"/>
                <a:gd name="connsiteX62" fmla="*/ 162274 w 609549"/>
                <a:gd name="connsiteY62" fmla="*/ 229936 h 586216"/>
                <a:gd name="connsiteX63" fmla="*/ 158702 w 609549"/>
                <a:gd name="connsiteY63" fmla="*/ 230269 h 586216"/>
                <a:gd name="connsiteX64" fmla="*/ 144942 w 609549"/>
                <a:gd name="connsiteY64" fmla="*/ 224611 h 586216"/>
                <a:gd name="connsiteX65" fmla="*/ 137609 w 609549"/>
                <a:gd name="connsiteY65" fmla="*/ 217288 h 586216"/>
                <a:gd name="connsiteX66" fmla="*/ 69804 w 609549"/>
                <a:gd name="connsiteY66" fmla="*/ 149578 h 586216"/>
                <a:gd name="connsiteX67" fmla="*/ 62519 w 609549"/>
                <a:gd name="connsiteY67" fmla="*/ 142255 h 586216"/>
                <a:gd name="connsiteX68" fmla="*/ 62519 w 609549"/>
                <a:gd name="connsiteY68" fmla="*/ 114819 h 586216"/>
                <a:gd name="connsiteX69" fmla="*/ 144942 w 609549"/>
                <a:gd name="connsiteY69" fmla="*/ 32464 h 586216"/>
                <a:gd name="connsiteX70" fmla="*/ 158702 w 609549"/>
                <a:gd name="connsiteY70" fmla="*/ 26758 h 586216"/>
                <a:gd name="connsiteX71" fmla="*/ 254809 w 609549"/>
                <a:gd name="connsiteY71" fmla="*/ 6542 h 586216"/>
                <a:gd name="connsiteX72" fmla="*/ 321015 w 609549"/>
                <a:gd name="connsiteY72" fmla="*/ 29913 h 586216"/>
                <a:gd name="connsiteX73" fmla="*/ 260017 w 609549"/>
                <a:gd name="connsiteY73" fmla="*/ 97465 h 586216"/>
                <a:gd name="connsiteX74" fmla="*/ 193067 w 609549"/>
                <a:gd name="connsiteY74" fmla="*/ 30626 h 586216"/>
                <a:gd name="connsiteX75" fmla="*/ 254809 w 609549"/>
                <a:gd name="connsiteY75" fmla="*/ 6542 h 586216"/>
                <a:gd name="connsiteX76" fmla="*/ 503105 w 609549"/>
                <a:gd name="connsiteY76" fmla="*/ 953 h 586216"/>
                <a:gd name="connsiteX77" fmla="*/ 538560 w 609549"/>
                <a:gd name="connsiteY77" fmla="*/ 10911 h 586216"/>
                <a:gd name="connsiteX78" fmla="*/ 542083 w 609549"/>
                <a:gd name="connsiteY78" fmla="*/ 30073 h 586216"/>
                <a:gd name="connsiteX79" fmla="*/ 465709 w 609549"/>
                <a:gd name="connsiteY79" fmla="*/ 106341 h 586216"/>
                <a:gd name="connsiteX80" fmla="*/ 465709 w 609549"/>
                <a:gd name="connsiteY80" fmla="*/ 139911 h 586216"/>
                <a:gd name="connsiteX81" fmla="*/ 542131 w 609549"/>
                <a:gd name="connsiteY81" fmla="*/ 216227 h 586216"/>
                <a:gd name="connsiteX82" fmla="*/ 538655 w 609549"/>
                <a:gd name="connsiteY82" fmla="*/ 235246 h 586216"/>
                <a:gd name="connsiteX83" fmla="*/ 442187 w 609549"/>
                <a:gd name="connsiteY83" fmla="*/ 237528 h 586216"/>
                <a:gd name="connsiteX84" fmla="*/ 399238 w 609549"/>
                <a:gd name="connsiteY84" fmla="*/ 280370 h 586216"/>
                <a:gd name="connsiteX85" fmla="*/ 328482 w 609549"/>
                <a:gd name="connsiteY85" fmla="*/ 209712 h 586216"/>
                <a:gd name="connsiteX86" fmla="*/ 372240 w 609549"/>
                <a:gd name="connsiteY86" fmla="*/ 166015 h 586216"/>
                <a:gd name="connsiteX87" fmla="*/ 400571 w 609549"/>
                <a:gd name="connsiteY87" fmla="*/ 36064 h 586216"/>
                <a:gd name="connsiteX88" fmla="*/ 503105 w 609549"/>
                <a:gd name="connsiteY88" fmla="*/ 953 h 586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609549" h="586216">
                  <a:moveTo>
                    <a:pt x="61288" y="383285"/>
                  </a:moveTo>
                  <a:cubicBezTo>
                    <a:pt x="64829" y="383106"/>
                    <a:pt x="68448" y="384367"/>
                    <a:pt x="71162" y="387101"/>
                  </a:cubicBezTo>
                  <a:lnTo>
                    <a:pt x="120018" y="435892"/>
                  </a:lnTo>
                  <a:cubicBezTo>
                    <a:pt x="125113" y="440933"/>
                    <a:pt x="125113" y="449160"/>
                    <a:pt x="120018" y="454200"/>
                  </a:cubicBezTo>
                  <a:lnTo>
                    <a:pt x="56639" y="517543"/>
                  </a:lnTo>
                  <a:cubicBezTo>
                    <a:pt x="50211" y="523963"/>
                    <a:pt x="39211" y="522013"/>
                    <a:pt x="35592" y="513644"/>
                  </a:cubicBezTo>
                  <a:cubicBezTo>
                    <a:pt x="17783" y="472794"/>
                    <a:pt x="23211" y="424288"/>
                    <a:pt x="51877" y="388099"/>
                  </a:cubicBezTo>
                  <a:cubicBezTo>
                    <a:pt x="54282" y="385079"/>
                    <a:pt x="57746" y="383463"/>
                    <a:pt x="61288" y="383285"/>
                  </a:cubicBezTo>
                  <a:close/>
                  <a:moveTo>
                    <a:pt x="235245" y="302810"/>
                  </a:moveTo>
                  <a:lnTo>
                    <a:pt x="306042" y="373466"/>
                  </a:lnTo>
                  <a:lnTo>
                    <a:pt x="258717" y="420680"/>
                  </a:lnTo>
                  <a:cubicBezTo>
                    <a:pt x="274667" y="464329"/>
                    <a:pt x="265192" y="515300"/>
                    <a:pt x="230246" y="550152"/>
                  </a:cubicBezTo>
                  <a:cubicBezTo>
                    <a:pt x="192919" y="587430"/>
                    <a:pt x="137644" y="595798"/>
                    <a:pt x="92223" y="575305"/>
                  </a:cubicBezTo>
                  <a:cubicBezTo>
                    <a:pt x="84701" y="571882"/>
                    <a:pt x="82892" y="561992"/>
                    <a:pt x="88748" y="556143"/>
                  </a:cubicBezTo>
                  <a:lnTo>
                    <a:pt x="165115" y="479877"/>
                  </a:lnTo>
                  <a:cubicBezTo>
                    <a:pt x="174399" y="470605"/>
                    <a:pt x="174399" y="455580"/>
                    <a:pt x="165115" y="446308"/>
                  </a:cubicBezTo>
                  <a:lnTo>
                    <a:pt x="88700" y="369995"/>
                  </a:lnTo>
                  <a:cubicBezTo>
                    <a:pt x="82844" y="364194"/>
                    <a:pt x="84653" y="354399"/>
                    <a:pt x="92128" y="350976"/>
                  </a:cubicBezTo>
                  <a:cubicBezTo>
                    <a:pt x="122789" y="337092"/>
                    <a:pt x="157973" y="336379"/>
                    <a:pt x="189111" y="348884"/>
                  </a:cubicBezTo>
                  <a:close/>
                  <a:moveTo>
                    <a:pt x="257958" y="161679"/>
                  </a:moveTo>
                  <a:lnTo>
                    <a:pt x="317251" y="220879"/>
                  </a:lnTo>
                  <a:lnTo>
                    <a:pt x="388070" y="291586"/>
                  </a:lnTo>
                  <a:lnTo>
                    <a:pt x="604906" y="508130"/>
                  </a:lnTo>
                  <a:cubicBezTo>
                    <a:pt x="611097" y="514311"/>
                    <a:pt x="611097" y="524344"/>
                    <a:pt x="604906" y="530526"/>
                  </a:cubicBezTo>
                  <a:lnTo>
                    <a:pt x="556567" y="578789"/>
                  </a:lnTo>
                  <a:cubicBezTo>
                    <a:pt x="553471" y="581880"/>
                    <a:pt x="549423" y="583449"/>
                    <a:pt x="545327" y="583449"/>
                  </a:cubicBezTo>
                  <a:cubicBezTo>
                    <a:pt x="541279" y="583449"/>
                    <a:pt x="537231" y="581880"/>
                    <a:pt x="534135" y="578789"/>
                  </a:cubicBezTo>
                  <a:lnTo>
                    <a:pt x="317251" y="362293"/>
                  </a:lnTo>
                  <a:lnTo>
                    <a:pt x="246481" y="291586"/>
                  </a:lnTo>
                  <a:lnTo>
                    <a:pt x="187140" y="232339"/>
                  </a:lnTo>
                  <a:close/>
                  <a:moveTo>
                    <a:pt x="58606" y="160814"/>
                  </a:moveTo>
                  <a:lnTo>
                    <a:pt x="126401" y="228498"/>
                  </a:lnTo>
                  <a:lnTo>
                    <a:pt x="111975" y="242899"/>
                  </a:lnTo>
                  <a:lnTo>
                    <a:pt x="119307" y="250219"/>
                  </a:lnTo>
                  <a:cubicBezTo>
                    <a:pt x="126877" y="257824"/>
                    <a:pt x="126877" y="270087"/>
                    <a:pt x="119307" y="277692"/>
                  </a:cubicBezTo>
                  <a:lnTo>
                    <a:pt x="115641" y="281352"/>
                  </a:lnTo>
                  <a:cubicBezTo>
                    <a:pt x="108024" y="288909"/>
                    <a:pt x="95741" y="288909"/>
                    <a:pt x="88123" y="281352"/>
                  </a:cubicBezTo>
                  <a:lnTo>
                    <a:pt x="5712" y="199029"/>
                  </a:lnTo>
                  <a:cubicBezTo>
                    <a:pt x="-1905" y="191424"/>
                    <a:pt x="-1905" y="179161"/>
                    <a:pt x="5712" y="171604"/>
                  </a:cubicBezTo>
                  <a:lnTo>
                    <a:pt x="9378" y="167944"/>
                  </a:lnTo>
                  <a:cubicBezTo>
                    <a:pt x="16948" y="160339"/>
                    <a:pt x="29231" y="160339"/>
                    <a:pt x="36849" y="167944"/>
                  </a:cubicBezTo>
                  <a:lnTo>
                    <a:pt x="44180" y="175264"/>
                  </a:lnTo>
                  <a:close/>
                  <a:moveTo>
                    <a:pt x="585775" y="66370"/>
                  </a:moveTo>
                  <a:cubicBezTo>
                    <a:pt x="589775" y="67101"/>
                    <a:pt x="593430" y="69680"/>
                    <a:pt x="595263" y="73839"/>
                  </a:cubicBezTo>
                  <a:cubicBezTo>
                    <a:pt x="613072" y="114675"/>
                    <a:pt x="607644" y="163212"/>
                    <a:pt x="578978" y="199341"/>
                  </a:cubicBezTo>
                  <a:cubicBezTo>
                    <a:pt x="574168" y="205379"/>
                    <a:pt x="565121" y="205854"/>
                    <a:pt x="559693" y="200387"/>
                  </a:cubicBezTo>
                  <a:lnTo>
                    <a:pt x="510789" y="151612"/>
                  </a:lnTo>
                  <a:cubicBezTo>
                    <a:pt x="505742" y="146526"/>
                    <a:pt x="505742" y="138349"/>
                    <a:pt x="510789" y="133262"/>
                  </a:cubicBezTo>
                  <a:lnTo>
                    <a:pt x="574216" y="69988"/>
                  </a:lnTo>
                  <a:cubicBezTo>
                    <a:pt x="577430" y="66756"/>
                    <a:pt x="581775" y="65639"/>
                    <a:pt x="585775" y="66370"/>
                  </a:cubicBezTo>
                  <a:close/>
                  <a:moveTo>
                    <a:pt x="158702" y="26758"/>
                  </a:moveTo>
                  <a:cubicBezTo>
                    <a:pt x="163655" y="26758"/>
                    <a:pt x="168654" y="28660"/>
                    <a:pt x="172463" y="32464"/>
                  </a:cubicBezTo>
                  <a:lnTo>
                    <a:pt x="179701" y="39691"/>
                  </a:lnTo>
                  <a:lnTo>
                    <a:pt x="246935" y="106831"/>
                  </a:lnTo>
                  <a:lnTo>
                    <a:pt x="254886" y="114819"/>
                  </a:lnTo>
                  <a:cubicBezTo>
                    <a:pt x="261457" y="121334"/>
                    <a:pt x="262362" y="131414"/>
                    <a:pt x="257600" y="138879"/>
                  </a:cubicBezTo>
                  <a:cubicBezTo>
                    <a:pt x="256839" y="140068"/>
                    <a:pt x="255934" y="141209"/>
                    <a:pt x="254886" y="142255"/>
                  </a:cubicBezTo>
                  <a:lnTo>
                    <a:pt x="252315" y="144823"/>
                  </a:lnTo>
                  <a:lnTo>
                    <a:pt x="246696" y="150434"/>
                  </a:lnTo>
                  <a:lnTo>
                    <a:pt x="175892" y="221140"/>
                  </a:lnTo>
                  <a:lnTo>
                    <a:pt x="172463" y="224611"/>
                  </a:lnTo>
                  <a:cubicBezTo>
                    <a:pt x="171702" y="225324"/>
                    <a:pt x="170940" y="225990"/>
                    <a:pt x="170130" y="226560"/>
                  </a:cubicBezTo>
                  <a:cubicBezTo>
                    <a:pt x="167749" y="228319"/>
                    <a:pt x="165083" y="229413"/>
                    <a:pt x="162274" y="229936"/>
                  </a:cubicBezTo>
                  <a:cubicBezTo>
                    <a:pt x="161083" y="230174"/>
                    <a:pt x="159893" y="230269"/>
                    <a:pt x="158702" y="230269"/>
                  </a:cubicBezTo>
                  <a:cubicBezTo>
                    <a:pt x="153703" y="230269"/>
                    <a:pt x="148751" y="228367"/>
                    <a:pt x="144942" y="224611"/>
                  </a:cubicBezTo>
                  <a:lnTo>
                    <a:pt x="137609" y="217288"/>
                  </a:lnTo>
                  <a:lnTo>
                    <a:pt x="69804" y="149578"/>
                  </a:lnTo>
                  <a:lnTo>
                    <a:pt x="62519" y="142255"/>
                  </a:lnTo>
                  <a:cubicBezTo>
                    <a:pt x="54900" y="134647"/>
                    <a:pt x="54900" y="122380"/>
                    <a:pt x="62519" y="114819"/>
                  </a:cubicBezTo>
                  <a:lnTo>
                    <a:pt x="144942" y="32464"/>
                  </a:lnTo>
                  <a:cubicBezTo>
                    <a:pt x="148751" y="28660"/>
                    <a:pt x="153750" y="26758"/>
                    <a:pt x="158702" y="26758"/>
                  </a:cubicBezTo>
                  <a:close/>
                  <a:moveTo>
                    <a:pt x="254809" y="6542"/>
                  </a:moveTo>
                  <a:cubicBezTo>
                    <a:pt x="277279" y="4029"/>
                    <a:pt x="300492" y="9424"/>
                    <a:pt x="321015" y="29913"/>
                  </a:cubicBezTo>
                  <a:cubicBezTo>
                    <a:pt x="380347" y="89193"/>
                    <a:pt x="337205" y="46124"/>
                    <a:pt x="260017" y="97465"/>
                  </a:cubicBezTo>
                  <a:lnTo>
                    <a:pt x="193067" y="30626"/>
                  </a:lnTo>
                  <a:cubicBezTo>
                    <a:pt x="210614" y="19479"/>
                    <a:pt x="232340" y="9056"/>
                    <a:pt x="254809" y="6542"/>
                  </a:cubicBezTo>
                  <a:close/>
                  <a:moveTo>
                    <a:pt x="503105" y="953"/>
                  </a:moveTo>
                  <a:cubicBezTo>
                    <a:pt x="515252" y="2468"/>
                    <a:pt x="527216" y="5788"/>
                    <a:pt x="538560" y="10911"/>
                  </a:cubicBezTo>
                  <a:cubicBezTo>
                    <a:pt x="546131" y="14334"/>
                    <a:pt x="547940" y="24224"/>
                    <a:pt x="542083" y="30073"/>
                  </a:cubicBezTo>
                  <a:lnTo>
                    <a:pt x="465709" y="106341"/>
                  </a:lnTo>
                  <a:cubicBezTo>
                    <a:pt x="456424" y="115613"/>
                    <a:pt x="456424" y="130639"/>
                    <a:pt x="465709" y="139911"/>
                  </a:cubicBezTo>
                  <a:lnTo>
                    <a:pt x="542131" y="216227"/>
                  </a:lnTo>
                  <a:cubicBezTo>
                    <a:pt x="547940" y="222028"/>
                    <a:pt x="546178" y="231823"/>
                    <a:pt x="538655" y="235246"/>
                  </a:cubicBezTo>
                  <a:cubicBezTo>
                    <a:pt x="508181" y="249035"/>
                    <a:pt x="473184" y="249844"/>
                    <a:pt x="442187" y="237528"/>
                  </a:cubicBezTo>
                  <a:lnTo>
                    <a:pt x="399238" y="280370"/>
                  </a:lnTo>
                  <a:lnTo>
                    <a:pt x="328482" y="209712"/>
                  </a:lnTo>
                  <a:lnTo>
                    <a:pt x="372240" y="166015"/>
                  </a:lnTo>
                  <a:cubicBezTo>
                    <a:pt x="356051" y="122270"/>
                    <a:pt x="365527" y="71060"/>
                    <a:pt x="400571" y="36064"/>
                  </a:cubicBezTo>
                  <a:cubicBezTo>
                    <a:pt x="428569" y="8106"/>
                    <a:pt x="466664" y="-3592"/>
                    <a:pt x="503105" y="953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4" name="iṥḷíďe"/>
            <p:cNvSpPr/>
            <p:nvPr/>
          </p:nvSpPr>
          <p:spPr bwMode="auto">
            <a:xfrm>
              <a:off x="3757917" y="3365618"/>
              <a:ext cx="567412" cy="545864"/>
            </a:xfrm>
            <a:custGeom>
              <a:avLst/>
              <a:gdLst>
                <a:gd name="connsiteX0" fmla="*/ 195114 w 608814"/>
                <a:gd name="connsiteY0" fmla="*/ 351627 h 585693"/>
                <a:gd name="connsiteX1" fmla="*/ 258290 w 608814"/>
                <a:gd name="connsiteY1" fmla="*/ 351627 h 585693"/>
                <a:gd name="connsiteX2" fmla="*/ 282731 w 608814"/>
                <a:gd name="connsiteY2" fmla="*/ 376018 h 585693"/>
                <a:gd name="connsiteX3" fmla="*/ 282731 w 608814"/>
                <a:gd name="connsiteY3" fmla="*/ 561210 h 585693"/>
                <a:gd name="connsiteX4" fmla="*/ 258290 w 608814"/>
                <a:gd name="connsiteY4" fmla="*/ 585693 h 585693"/>
                <a:gd name="connsiteX5" fmla="*/ 195114 w 608814"/>
                <a:gd name="connsiteY5" fmla="*/ 585693 h 585693"/>
                <a:gd name="connsiteX6" fmla="*/ 170673 w 608814"/>
                <a:gd name="connsiteY6" fmla="*/ 561210 h 585693"/>
                <a:gd name="connsiteX7" fmla="*/ 170673 w 608814"/>
                <a:gd name="connsiteY7" fmla="*/ 376018 h 585693"/>
                <a:gd name="connsiteX8" fmla="*/ 195114 w 608814"/>
                <a:gd name="connsiteY8" fmla="*/ 351627 h 585693"/>
                <a:gd name="connsiteX9" fmla="*/ 358100 w 608814"/>
                <a:gd name="connsiteY9" fmla="*/ 249872 h 585693"/>
                <a:gd name="connsiteX10" fmla="*/ 421316 w 608814"/>
                <a:gd name="connsiteY10" fmla="*/ 249872 h 585693"/>
                <a:gd name="connsiteX11" fmla="*/ 445737 w 608814"/>
                <a:gd name="connsiteY11" fmla="*/ 274267 h 585693"/>
                <a:gd name="connsiteX12" fmla="*/ 445737 w 608814"/>
                <a:gd name="connsiteY12" fmla="*/ 561206 h 585693"/>
                <a:gd name="connsiteX13" fmla="*/ 421316 w 608814"/>
                <a:gd name="connsiteY13" fmla="*/ 585693 h 585693"/>
                <a:gd name="connsiteX14" fmla="*/ 358100 w 608814"/>
                <a:gd name="connsiteY14" fmla="*/ 585693 h 585693"/>
                <a:gd name="connsiteX15" fmla="*/ 333679 w 608814"/>
                <a:gd name="connsiteY15" fmla="*/ 561206 h 585693"/>
                <a:gd name="connsiteX16" fmla="*/ 333679 w 608814"/>
                <a:gd name="connsiteY16" fmla="*/ 274267 h 585693"/>
                <a:gd name="connsiteX17" fmla="*/ 358100 w 608814"/>
                <a:gd name="connsiteY17" fmla="*/ 249872 h 585693"/>
                <a:gd name="connsiteX18" fmla="*/ 140260 w 608814"/>
                <a:gd name="connsiteY18" fmla="*/ 224680 h 585693"/>
                <a:gd name="connsiteX19" fmla="*/ 191844 w 608814"/>
                <a:gd name="connsiteY19" fmla="*/ 276122 h 585693"/>
                <a:gd name="connsiteX20" fmla="*/ 140260 w 608814"/>
                <a:gd name="connsiteY20" fmla="*/ 327564 h 585693"/>
                <a:gd name="connsiteX21" fmla="*/ 88676 w 608814"/>
                <a:gd name="connsiteY21" fmla="*/ 276122 h 585693"/>
                <a:gd name="connsiteX22" fmla="*/ 140260 w 608814"/>
                <a:gd name="connsiteY22" fmla="*/ 224680 h 585693"/>
                <a:gd name="connsiteX23" fmla="*/ 521177 w 608814"/>
                <a:gd name="connsiteY23" fmla="*/ 148117 h 585693"/>
                <a:gd name="connsiteX24" fmla="*/ 584301 w 608814"/>
                <a:gd name="connsiteY24" fmla="*/ 148117 h 585693"/>
                <a:gd name="connsiteX25" fmla="*/ 608814 w 608814"/>
                <a:gd name="connsiteY25" fmla="*/ 172601 h 585693"/>
                <a:gd name="connsiteX26" fmla="*/ 608814 w 608814"/>
                <a:gd name="connsiteY26" fmla="*/ 561209 h 585693"/>
                <a:gd name="connsiteX27" fmla="*/ 584301 w 608814"/>
                <a:gd name="connsiteY27" fmla="*/ 585693 h 585693"/>
                <a:gd name="connsiteX28" fmla="*/ 521177 w 608814"/>
                <a:gd name="connsiteY28" fmla="*/ 585693 h 585693"/>
                <a:gd name="connsiteX29" fmla="*/ 496756 w 608814"/>
                <a:gd name="connsiteY29" fmla="*/ 561209 h 585693"/>
                <a:gd name="connsiteX30" fmla="*/ 496756 w 608814"/>
                <a:gd name="connsiteY30" fmla="*/ 172601 h 585693"/>
                <a:gd name="connsiteX31" fmla="*/ 521177 w 608814"/>
                <a:gd name="connsiteY31" fmla="*/ 148117 h 585693"/>
                <a:gd name="connsiteX32" fmla="*/ 116229 w 608814"/>
                <a:gd name="connsiteY32" fmla="*/ 131322 h 585693"/>
                <a:gd name="connsiteX33" fmla="*/ 164246 w 608814"/>
                <a:gd name="connsiteY33" fmla="*/ 131322 h 585693"/>
                <a:gd name="connsiteX34" fmla="*/ 184061 w 608814"/>
                <a:gd name="connsiteY34" fmla="*/ 151113 h 585693"/>
                <a:gd name="connsiteX35" fmla="*/ 184061 w 608814"/>
                <a:gd name="connsiteY35" fmla="*/ 171457 h 585693"/>
                <a:gd name="connsiteX36" fmla="*/ 208669 w 608814"/>
                <a:gd name="connsiteY36" fmla="*/ 186094 h 585693"/>
                <a:gd name="connsiteX37" fmla="*/ 226641 w 608814"/>
                <a:gd name="connsiteY37" fmla="*/ 175692 h 585693"/>
                <a:gd name="connsiteX38" fmla="*/ 253737 w 608814"/>
                <a:gd name="connsiteY38" fmla="*/ 182964 h 585693"/>
                <a:gd name="connsiteX39" fmla="*/ 277792 w 608814"/>
                <a:gd name="connsiteY39" fmla="*/ 224572 h 585693"/>
                <a:gd name="connsiteX40" fmla="*/ 279727 w 608814"/>
                <a:gd name="connsiteY40" fmla="*/ 239577 h 585693"/>
                <a:gd name="connsiteX41" fmla="*/ 270511 w 608814"/>
                <a:gd name="connsiteY41" fmla="*/ 251544 h 585693"/>
                <a:gd name="connsiteX42" fmla="*/ 252355 w 608814"/>
                <a:gd name="connsiteY42" fmla="*/ 262038 h 585693"/>
                <a:gd name="connsiteX43" fmla="*/ 253829 w 608814"/>
                <a:gd name="connsiteY43" fmla="*/ 276122 h 585693"/>
                <a:gd name="connsiteX44" fmla="*/ 252355 w 608814"/>
                <a:gd name="connsiteY44" fmla="*/ 290206 h 585693"/>
                <a:gd name="connsiteX45" fmla="*/ 270511 w 608814"/>
                <a:gd name="connsiteY45" fmla="*/ 300700 h 585693"/>
                <a:gd name="connsiteX46" fmla="*/ 278714 w 608814"/>
                <a:gd name="connsiteY46" fmla="*/ 325094 h 585693"/>
                <a:gd name="connsiteX47" fmla="*/ 258253 w 608814"/>
                <a:gd name="connsiteY47" fmla="*/ 321136 h 585693"/>
                <a:gd name="connsiteX48" fmla="*/ 195858 w 608814"/>
                <a:gd name="connsiteY48" fmla="*/ 321136 h 585693"/>
                <a:gd name="connsiteX49" fmla="*/ 212171 w 608814"/>
                <a:gd name="connsiteY49" fmla="*/ 276122 h 585693"/>
                <a:gd name="connsiteX50" fmla="*/ 140191 w 608814"/>
                <a:gd name="connsiteY50" fmla="*/ 204320 h 585693"/>
                <a:gd name="connsiteX51" fmla="*/ 68304 w 608814"/>
                <a:gd name="connsiteY51" fmla="*/ 276122 h 585693"/>
                <a:gd name="connsiteX52" fmla="*/ 140191 w 608814"/>
                <a:gd name="connsiteY52" fmla="*/ 348016 h 585693"/>
                <a:gd name="connsiteX53" fmla="*/ 148486 w 608814"/>
                <a:gd name="connsiteY53" fmla="*/ 347095 h 585693"/>
                <a:gd name="connsiteX54" fmla="*/ 140099 w 608814"/>
                <a:gd name="connsiteY54" fmla="*/ 376000 h 585693"/>
                <a:gd name="connsiteX55" fmla="*/ 140099 w 608814"/>
                <a:gd name="connsiteY55" fmla="*/ 420922 h 585693"/>
                <a:gd name="connsiteX56" fmla="*/ 116229 w 608814"/>
                <a:gd name="connsiteY56" fmla="*/ 420922 h 585693"/>
                <a:gd name="connsiteX57" fmla="*/ 96413 w 608814"/>
                <a:gd name="connsiteY57" fmla="*/ 401131 h 585693"/>
                <a:gd name="connsiteX58" fmla="*/ 96413 w 608814"/>
                <a:gd name="connsiteY58" fmla="*/ 380787 h 585693"/>
                <a:gd name="connsiteX59" fmla="*/ 71806 w 608814"/>
                <a:gd name="connsiteY59" fmla="*/ 366150 h 585693"/>
                <a:gd name="connsiteX60" fmla="*/ 53742 w 608814"/>
                <a:gd name="connsiteY60" fmla="*/ 376552 h 585693"/>
                <a:gd name="connsiteX61" fmla="*/ 38719 w 608814"/>
                <a:gd name="connsiteY61" fmla="*/ 378577 h 585693"/>
                <a:gd name="connsiteX62" fmla="*/ 26738 w 608814"/>
                <a:gd name="connsiteY62" fmla="*/ 369372 h 585693"/>
                <a:gd name="connsiteX63" fmla="*/ 2683 w 608814"/>
                <a:gd name="connsiteY63" fmla="*/ 327764 h 585693"/>
                <a:gd name="connsiteX64" fmla="*/ 9872 w 608814"/>
                <a:gd name="connsiteY64" fmla="*/ 300700 h 585693"/>
                <a:gd name="connsiteX65" fmla="*/ 28120 w 608814"/>
                <a:gd name="connsiteY65" fmla="*/ 290206 h 585693"/>
                <a:gd name="connsiteX66" fmla="*/ 26645 w 608814"/>
                <a:gd name="connsiteY66" fmla="*/ 276122 h 585693"/>
                <a:gd name="connsiteX67" fmla="*/ 28120 w 608814"/>
                <a:gd name="connsiteY67" fmla="*/ 262038 h 585693"/>
                <a:gd name="connsiteX68" fmla="*/ 9872 w 608814"/>
                <a:gd name="connsiteY68" fmla="*/ 251544 h 585693"/>
                <a:gd name="connsiteX69" fmla="*/ 2683 w 608814"/>
                <a:gd name="connsiteY69" fmla="*/ 224572 h 585693"/>
                <a:gd name="connsiteX70" fmla="*/ 26738 w 608814"/>
                <a:gd name="connsiteY70" fmla="*/ 182964 h 585693"/>
                <a:gd name="connsiteX71" fmla="*/ 38719 w 608814"/>
                <a:gd name="connsiteY71" fmla="*/ 173759 h 585693"/>
                <a:gd name="connsiteX72" fmla="*/ 53742 w 608814"/>
                <a:gd name="connsiteY72" fmla="*/ 175692 h 585693"/>
                <a:gd name="connsiteX73" fmla="*/ 71806 w 608814"/>
                <a:gd name="connsiteY73" fmla="*/ 186094 h 585693"/>
                <a:gd name="connsiteX74" fmla="*/ 96413 w 608814"/>
                <a:gd name="connsiteY74" fmla="*/ 171457 h 585693"/>
                <a:gd name="connsiteX75" fmla="*/ 96413 w 608814"/>
                <a:gd name="connsiteY75" fmla="*/ 151113 h 585693"/>
                <a:gd name="connsiteX76" fmla="*/ 116229 w 608814"/>
                <a:gd name="connsiteY76" fmla="*/ 131322 h 585693"/>
                <a:gd name="connsiteX77" fmla="*/ 445756 w 608814"/>
                <a:gd name="connsiteY77" fmla="*/ 83476 h 585693"/>
                <a:gd name="connsiteX78" fmla="*/ 414140 w 608814"/>
                <a:gd name="connsiteY78" fmla="*/ 115044 h 585693"/>
                <a:gd name="connsiteX79" fmla="*/ 445756 w 608814"/>
                <a:gd name="connsiteY79" fmla="*/ 146520 h 585693"/>
                <a:gd name="connsiteX80" fmla="*/ 477371 w 608814"/>
                <a:gd name="connsiteY80" fmla="*/ 115044 h 585693"/>
                <a:gd name="connsiteX81" fmla="*/ 445756 w 608814"/>
                <a:gd name="connsiteY81" fmla="*/ 83476 h 585693"/>
                <a:gd name="connsiteX82" fmla="*/ 426676 w 608814"/>
                <a:gd name="connsiteY82" fmla="*/ 0 h 585693"/>
                <a:gd name="connsiteX83" fmla="*/ 464835 w 608814"/>
                <a:gd name="connsiteY83" fmla="*/ 0 h 585693"/>
                <a:gd name="connsiteX84" fmla="*/ 480597 w 608814"/>
                <a:gd name="connsiteY84" fmla="*/ 15738 h 585693"/>
                <a:gd name="connsiteX85" fmla="*/ 480597 w 608814"/>
                <a:gd name="connsiteY85" fmla="*/ 31936 h 585693"/>
                <a:gd name="connsiteX86" fmla="*/ 500138 w 608814"/>
                <a:gd name="connsiteY86" fmla="*/ 43533 h 585693"/>
                <a:gd name="connsiteX87" fmla="*/ 514425 w 608814"/>
                <a:gd name="connsiteY87" fmla="*/ 35249 h 585693"/>
                <a:gd name="connsiteX88" fmla="*/ 535901 w 608814"/>
                <a:gd name="connsiteY88" fmla="*/ 40956 h 585693"/>
                <a:gd name="connsiteX89" fmla="*/ 554981 w 608814"/>
                <a:gd name="connsiteY89" fmla="*/ 73996 h 585693"/>
                <a:gd name="connsiteX90" fmla="*/ 556640 w 608814"/>
                <a:gd name="connsiteY90" fmla="*/ 85961 h 585693"/>
                <a:gd name="connsiteX91" fmla="*/ 549266 w 608814"/>
                <a:gd name="connsiteY91" fmla="*/ 95440 h 585693"/>
                <a:gd name="connsiteX92" fmla="*/ 534887 w 608814"/>
                <a:gd name="connsiteY92" fmla="*/ 103815 h 585693"/>
                <a:gd name="connsiteX93" fmla="*/ 535993 w 608814"/>
                <a:gd name="connsiteY93" fmla="*/ 115044 h 585693"/>
                <a:gd name="connsiteX94" fmla="*/ 535717 w 608814"/>
                <a:gd name="connsiteY94" fmla="*/ 117621 h 585693"/>
                <a:gd name="connsiteX95" fmla="*/ 521153 w 608814"/>
                <a:gd name="connsiteY95" fmla="*/ 117621 h 585693"/>
                <a:gd name="connsiteX96" fmla="*/ 466126 w 608814"/>
                <a:gd name="connsiteY96" fmla="*/ 172565 h 585693"/>
                <a:gd name="connsiteX97" fmla="*/ 466126 w 608814"/>
                <a:gd name="connsiteY97" fmla="*/ 229719 h 585693"/>
                <a:gd name="connsiteX98" fmla="*/ 466126 w 608814"/>
                <a:gd name="connsiteY98" fmla="*/ 242604 h 585693"/>
                <a:gd name="connsiteX99" fmla="*/ 453590 w 608814"/>
                <a:gd name="connsiteY99" fmla="*/ 229995 h 585693"/>
                <a:gd name="connsiteX100" fmla="*/ 421330 w 608814"/>
                <a:gd name="connsiteY100" fmla="*/ 219319 h 585693"/>
                <a:gd name="connsiteX101" fmla="*/ 411928 w 608814"/>
                <a:gd name="connsiteY101" fmla="*/ 219319 h 585693"/>
                <a:gd name="connsiteX102" fmla="*/ 410914 w 608814"/>
                <a:gd name="connsiteY102" fmla="*/ 214257 h 585693"/>
                <a:gd name="connsiteX103" fmla="*/ 410914 w 608814"/>
                <a:gd name="connsiteY103" fmla="*/ 198059 h 585693"/>
                <a:gd name="connsiteX104" fmla="*/ 391373 w 608814"/>
                <a:gd name="connsiteY104" fmla="*/ 186463 h 585693"/>
                <a:gd name="connsiteX105" fmla="*/ 377086 w 608814"/>
                <a:gd name="connsiteY105" fmla="*/ 194746 h 585693"/>
                <a:gd name="connsiteX106" fmla="*/ 365104 w 608814"/>
                <a:gd name="connsiteY106" fmla="*/ 196310 h 585693"/>
                <a:gd name="connsiteX107" fmla="*/ 355610 w 608814"/>
                <a:gd name="connsiteY107" fmla="*/ 189040 h 585693"/>
                <a:gd name="connsiteX108" fmla="*/ 336530 w 608814"/>
                <a:gd name="connsiteY108" fmla="*/ 155999 h 585693"/>
                <a:gd name="connsiteX109" fmla="*/ 342245 w 608814"/>
                <a:gd name="connsiteY109" fmla="*/ 134463 h 585693"/>
                <a:gd name="connsiteX110" fmla="*/ 356716 w 608814"/>
                <a:gd name="connsiteY110" fmla="*/ 126180 h 585693"/>
                <a:gd name="connsiteX111" fmla="*/ 355518 w 608814"/>
                <a:gd name="connsiteY111" fmla="*/ 115044 h 585693"/>
                <a:gd name="connsiteX112" fmla="*/ 356716 w 608814"/>
                <a:gd name="connsiteY112" fmla="*/ 103815 h 585693"/>
                <a:gd name="connsiteX113" fmla="*/ 342245 w 608814"/>
                <a:gd name="connsiteY113" fmla="*/ 95440 h 585693"/>
                <a:gd name="connsiteX114" fmla="*/ 336530 w 608814"/>
                <a:gd name="connsiteY114" fmla="*/ 73996 h 585693"/>
                <a:gd name="connsiteX115" fmla="*/ 355610 w 608814"/>
                <a:gd name="connsiteY115" fmla="*/ 40956 h 585693"/>
                <a:gd name="connsiteX116" fmla="*/ 365104 w 608814"/>
                <a:gd name="connsiteY116" fmla="*/ 33685 h 585693"/>
                <a:gd name="connsiteX117" fmla="*/ 377086 w 608814"/>
                <a:gd name="connsiteY117" fmla="*/ 35249 h 585693"/>
                <a:gd name="connsiteX118" fmla="*/ 391373 w 608814"/>
                <a:gd name="connsiteY118" fmla="*/ 43533 h 585693"/>
                <a:gd name="connsiteX119" fmla="*/ 410914 w 608814"/>
                <a:gd name="connsiteY119" fmla="*/ 31936 h 585693"/>
                <a:gd name="connsiteX120" fmla="*/ 410914 w 608814"/>
                <a:gd name="connsiteY120" fmla="*/ 15738 h 585693"/>
                <a:gd name="connsiteX121" fmla="*/ 426676 w 608814"/>
                <a:gd name="connsiteY121" fmla="*/ 0 h 585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608814" h="585693">
                  <a:moveTo>
                    <a:pt x="195114" y="351627"/>
                  </a:moveTo>
                  <a:lnTo>
                    <a:pt x="258290" y="351627"/>
                  </a:lnTo>
                  <a:cubicBezTo>
                    <a:pt x="271848" y="351627"/>
                    <a:pt x="282731" y="362580"/>
                    <a:pt x="282731" y="376018"/>
                  </a:cubicBezTo>
                  <a:lnTo>
                    <a:pt x="282731" y="561210"/>
                  </a:lnTo>
                  <a:cubicBezTo>
                    <a:pt x="282731" y="574740"/>
                    <a:pt x="271848" y="585693"/>
                    <a:pt x="258290" y="585693"/>
                  </a:cubicBezTo>
                  <a:lnTo>
                    <a:pt x="195114" y="585693"/>
                  </a:lnTo>
                  <a:cubicBezTo>
                    <a:pt x="181556" y="585693"/>
                    <a:pt x="170673" y="574740"/>
                    <a:pt x="170673" y="561210"/>
                  </a:cubicBezTo>
                  <a:lnTo>
                    <a:pt x="170673" y="376018"/>
                  </a:lnTo>
                  <a:cubicBezTo>
                    <a:pt x="170673" y="362580"/>
                    <a:pt x="181556" y="351627"/>
                    <a:pt x="195114" y="351627"/>
                  </a:cubicBezTo>
                  <a:close/>
                  <a:moveTo>
                    <a:pt x="358100" y="249872"/>
                  </a:moveTo>
                  <a:lnTo>
                    <a:pt x="421316" y="249872"/>
                  </a:lnTo>
                  <a:cubicBezTo>
                    <a:pt x="434771" y="249872"/>
                    <a:pt x="445737" y="260735"/>
                    <a:pt x="445737" y="274267"/>
                  </a:cubicBezTo>
                  <a:lnTo>
                    <a:pt x="445737" y="561206"/>
                  </a:lnTo>
                  <a:cubicBezTo>
                    <a:pt x="445737" y="574738"/>
                    <a:pt x="434771" y="585693"/>
                    <a:pt x="421316" y="585693"/>
                  </a:cubicBezTo>
                  <a:lnTo>
                    <a:pt x="358100" y="585693"/>
                  </a:lnTo>
                  <a:cubicBezTo>
                    <a:pt x="344645" y="585693"/>
                    <a:pt x="333679" y="574738"/>
                    <a:pt x="333679" y="561206"/>
                  </a:cubicBezTo>
                  <a:lnTo>
                    <a:pt x="333679" y="274267"/>
                  </a:lnTo>
                  <a:cubicBezTo>
                    <a:pt x="333679" y="260735"/>
                    <a:pt x="344645" y="249872"/>
                    <a:pt x="358100" y="249872"/>
                  </a:cubicBezTo>
                  <a:close/>
                  <a:moveTo>
                    <a:pt x="140260" y="224680"/>
                  </a:moveTo>
                  <a:cubicBezTo>
                    <a:pt x="168749" y="224680"/>
                    <a:pt x="191844" y="247711"/>
                    <a:pt x="191844" y="276122"/>
                  </a:cubicBezTo>
                  <a:cubicBezTo>
                    <a:pt x="191844" y="304533"/>
                    <a:pt x="168749" y="327564"/>
                    <a:pt x="140260" y="327564"/>
                  </a:cubicBezTo>
                  <a:cubicBezTo>
                    <a:pt x="111771" y="327564"/>
                    <a:pt x="88676" y="304533"/>
                    <a:pt x="88676" y="276122"/>
                  </a:cubicBezTo>
                  <a:cubicBezTo>
                    <a:pt x="88676" y="247711"/>
                    <a:pt x="111771" y="224680"/>
                    <a:pt x="140260" y="224680"/>
                  </a:cubicBezTo>
                  <a:close/>
                  <a:moveTo>
                    <a:pt x="521177" y="148117"/>
                  </a:moveTo>
                  <a:lnTo>
                    <a:pt x="584301" y="148117"/>
                  </a:lnTo>
                  <a:cubicBezTo>
                    <a:pt x="597848" y="148117"/>
                    <a:pt x="608814" y="159070"/>
                    <a:pt x="608814" y="172601"/>
                  </a:cubicBezTo>
                  <a:lnTo>
                    <a:pt x="608814" y="561209"/>
                  </a:lnTo>
                  <a:cubicBezTo>
                    <a:pt x="608814" y="574740"/>
                    <a:pt x="597848" y="585693"/>
                    <a:pt x="584301" y="585693"/>
                  </a:cubicBezTo>
                  <a:lnTo>
                    <a:pt x="521177" y="585693"/>
                  </a:lnTo>
                  <a:cubicBezTo>
                    <a:pt x="507722" y="585693"/>
                    <a:pt x="496756" y="574740"/>
                    <a:pt x="496756" y="561209"/>
                  </a:cubicBezTo>
                  <a:lnTo>
                    <a:pt x="496756" y="172601"/>
                  </a:lnTo>
                  <a:cubicBezTo>
                    <a:pt x="496756" y="159070"/>
                    <a:pt x="507722" y="148117"/>
                    <a:pt x="521177" y="148117"/>
                  </a:cubicBezTo>
                  <a:close/>
                  <a:moveTo>
                    <a:pt x="116229" y="131322"/>
                  </a:moveTo>
                  <a:lnTo>
                    <a:pt x="164246" y="131322"/>
                  </a:lnTo>
                  <a:cubicBezTo>
                    <a:pt x="175214" y="131322"/>
                    <a:pt x="184061" y="140159"/>
                    <a:pt x="184061" y="151113"/>
                  </a:cubicBezTo>
                  <a:lnTo>
                    <a:pt x="184061" y="171457"/>
                  </a:lnTo>
                  <a:cubicBezTo>
                    <a:pt x="193001" y="175231"/>
                    <a:pt x="201019" y="180386"/>
                    <a:pt x="208669" y="186094"/>
                  </a:cubicBezTo>
                  <a:lnTo>
                    <a:pt x="226641" y="175692"/>
                  </a:lnTo>
                  <a:cubicBezTo>
                    <a:pt x="236134" y="170261"/>
                    <a:pt x="248300" y="173482"/>
                    <a:pt x="253737" y="182964"/>
                  </a:cubicBezTo>
                  <a:lnTo>
                    <a:pt x="277792" y="224572"/>
                  </a:lnTo>
                  <a:cubicBezTo>
                    <a:pt x="280465" y="229083"/>
                    <a:pt x="281110" y="234514"/>
                    <a:pt x="279727" y="239577"/>
                  </a:cubicBezTo>
                  <a:cubicBezTo>
                    <a:pt x="278437" y="244640"/>
                    <a:pt x="275119" y="248966"/>
                    <a:pt x="270511" y="251544"/>
                  </a:cubicBezTo>
                  <a:lnTo>
                    <a:pt x="252355" y="262038"/>
                  </a:lnTo>
                  <a:cubicBezTo>
                    <a:pt x="253000" y="266733"/>
                    <a:pt x="253829" y="271335"/>
                    <a:pt x="253829" y="276122"/>
                  </a:cubicBezTo>
                  <a:cubicBezTo>
                    <a:pt x="253829" y="281001"/>
                    <a:pt x="253000" y="285604"/>
                    <a:pt x="252355" y="290206"/>
                  </a:cubicBezTo>
                  <a:lnTo>
                    <a:pt x="270511" y="300700"/>
                  </a:lnTo>
                  <a:cubicBezTo>
                    <a:pt x="279174" y="305671"/>
                    <a:pt x="282308" y="316165"/>
                    <a:pt x="278714" y="325094"/>
                  </a:cubicBezTo>
                  <a:cubicBezTo>
                    <a:pt x="272354" y="322609"/>
                    <a:pt x="265442" y="321136"/>
                    <a:pt x="258253" y="321136"/>
                  </a:cubicBezTo>
                  <a:lnTo>
                    <a:pt x="195858" y="321136"/>
                  </a:lnTo>
                  <a:cubicBezTo>
                    <a:pt x="205904" y="308709"/>
                    <a:pt x="212171" y="293244"/>
                    <a:pt x="212171" y="276122"/>
                  </a:cubicBezTo>
                  <a:cubicBezTo>
                    <a:pt x="212171" y="236539"/>
                    <a:pt x="179914" y="204320"/>
                    <a:pt x="140191" y="204320"/>
                  </a:cubicBezTo>
                  <a:cubicBezTo>
                    <a:pt x="100561" y="204320"/>
                    <a:pt x="68304" y="236539"/>
                    <a:pt x="68304" y="276122"/>
                  </a:cubicBezTo>
                  <a:cubicBezTo>
                    <a:pt x="68304" y="315797"/>
                    <a:pt x="100561" y="348016"/>
                    <a:pt x="140191" y="348016"/>
                  </a:cubicBezTo>
                  <a:cubicBezTo>
                    <a:pt x="143048" y="348016"/>
                    <a:pt x="145721" y="347463"/>
                    <a:pt x="148486" y="347095"/>
                  </a:cubicBezTo>
                  <a:cubicBezTo>
                    <a:pt x="143233" y="355564"/>
                    <a:pt x="140099" y="365414"/>
                    <a:pt x="140099" y="376000"/>
                  </a:cubicBezTo>
                  <a:lnTo>
                    <a:pt x="140099" y="420922"/>
                  </a:lnTo>
                  <a:lnTo>
                    <a:pt x="116229" y="420922"/>
                  </a:lnTo>
                  <a:cubicBezTo>
                    <a:pt x="105261" y="420922"/>
                    <a:pt x="96413" y="412085"/>
                    <a:pt x="96413" y="401131"/>
                  </a:cubicBezTo>
                  <a:lnTo>
                    <a:pt x="96413" y="380787"/>
                  </a:lnTo>
                  <a:cubicBezTo>
                    <a:pt x="87474" y="377013"/>
                    <a:pt x="79455" y="371950"/>
                    <a:pt x="71806" y="366150"/>
                  </a:cubicBezTo>
                  <a:lnTo>
                    <a:pt x="53742" y="376552"/>
                  </a:lnTo>
                  <a:cubicBezTo>
                    <a:pt x="49226" y="379222"/>
                    <a:pt x="43788" y="379866"/>
                    <a:pt x="38719" y="378577"/>
                  </a:cubicBezTo>
                  <a:cubicBezTo>
                    <a:pt x="33650" y="377197"/>
                    <a:pt x="29318" y="373883"/>
                    <a:pt x="26738" y="369372"/>
                  </a:cubicBezTo>
                  <a:lnTo>
                    <a:pt x="2683" y="327764"/>
                  </a:lnTo>
                  <a:cubicBezTo>
                    <a:pt x="-2847" y="318282"/>
                    <a:pt x="471" y="306131"/>
                    <a:pt x="9872" y="300700"/>
                  </a:cubicBezTo>
                  <a:lnTo>
                    <a:pt x="28120" y="290206"/>
                  </a:lnTo>
                  <a:cubicBezTo>
                    <a:pt x="27475" y="285604"/>
                    <a:pt x="26645" y="281001"/>
                    <a:pt x="26645" y="276122"/>
                  </a:cubicBezTo>
                  <a:cubicBezTo>
                    <a:pt x="26645" y="271335"/>
                    <a:pt x="27475" y="266733"/>
                    <a:pt x="28120" y="262038"/>
                  </a:cubicBezTo>
                  <a:lnTo>
                    <a:pt x="9872" y="251544"/>
                  </a:lnTo>
                  <a:cubicBezTo>
                    <a:pt x="471" y="246113"/>
                    <a:pt x="-2847" y="233962"/>
                    <a:pt x="2683" y="224572"/>
                  </a:cubicBezTo>
                  <a:lnTo>
                    <a:pt x="26738" y="182964"/>
                  </a:lnTo>
                  <a:cubicBezTo>
                    <a:pt x="29318" y="178361"/>
                    <a:pt x="33650" y="175139"/>
                    <a:pt x="38719" y="173759"/>
                  </a:cubicBezTo>
                  <a:cubicBezTo>
                    <a:pt x="43788" y="172378"/>
                    <a:pt x="49226" y="173114"/>
                    <a:pt x="53742" y="175692"/>
                  </a:cubicBezTo>
                  <a:lnTo>
                    <a:pt x="71806" y="186094"/>
                  </a:lnTo>
                  <a:cubicBezTo>
                    <a:pt x="79455" y="180386"/>
                    <a:pt x="87474" y="175231"/>
                    <a:pt x="96413" y="171457"/>
                  </a:cubicBezTo>
                  <a:lnTo>
                    <a:pt x="96413" y="151113"/>
                  </a:lnTo>
                  <a:cubicBezTo>
                    <a:pt x="96413" y="140159"/>
                    <a:pt x="105261" y="131322"/>
                    <a:pt x="116229" y="131322"/>
                  </a:cubicBezTo>
                  <a:close/>
                  <a:moveTo>
                    <a:pt x="445756" y="83476"/>
                  </a:moveTo>
                  <a:cubicBezTo>
                    <a:pt x="428335" y="83476"/>
                    <a:pt x="414140" y="97557"/>
                    <a:pt x="414140" y="115044"/>
                  </a:cubicBezTo>
                  <a:cubicBezTo>
                    <a:pt x="414140" y="132438"/>
                    <a:pt x="428335" y="146520"/>
                    <a:pt x="445756" y="146520"/>
                  </a:cubicBezTo>
                  <a:cubicBezTo>
                    <a:pt x="463176" y="146520"/>
                    <a:pt x="477371" y="132438"/>
                    <a:pt x="477371" y="115044"/>
                  </a:cubicBezTo>
                  <a:cubicBezTo>
                    <a:pt x="477371" y="97557"/>
                    <a:pt x="463176" y="83476"/>
                    <a:pt x="445756" y="83476"/>
                  </a:cubicBezTo>
                  <a:close/>
                  <a:moveTo>
                    <a:pt x="426676" y="0"/>
                  </a:moveTo>
                  <a:lnTo>
                    <a:pt x="464835" y="0"/>
                  </a:lnTo>
                  <a:cubicBezTo>
                    <a:pt x="473500" y="0"/>
                    <a:pt x="480597" y="7087"/>
                    <a:pt x="480597" y="15738"/>
                  </a:cubicBezTo>
                  <a:lnTo>
                    <a:pt x="480597" y="31936"/>
                  </a:lnTo>
                  <a:cubicBezTo>
                    <a:pt x="487694" y="34881"/>
                    <a:pt x="494054" y="38931"/>
                    <a:pt x="500138" y="43533"/>
                  </a:cubicBezTo>
                  <a:lnTo>
                    <a:pt x="514425" y="35249"/>
                  </a:lnTo>
                  <a:cubicBezTo>
                    <a:pt x="521983" y="30924"/>
                    <a:pt x="531569" y="33501"/>
                    <a:pt x="535901" y="40956"/>
                  </a:cubicBezTo>
                  <a:lnTo>
                    <a:pt x="554981" y="73996"/>
                  </a:lnTo>
                  <a:cubicBezTo>
                    <a:pt x="557101" y="77585"/>
                    <a:pt x="557654" y="81911"/>
                    <a:pt x="556640" y="85961"/>
                  </a:cubicBezTo>
                  <a:cubicBezTo>
                    <a:pt x="555534" y="89918"/>
                    <a:pt x="552861" y="93415"/>
                    <a:pt x="549266" y="95440"/>
                  </a:cubicBezTo>
                  <a:lnTo>
                    <a:pt x="534887" y="103815"/>
                  </a:lnTo>
                  <a:cubicBezTo>
                    <a:pt x="535348" y="107497"/>
                    <a:pt x="535993" y="111178"/>
                    <a:pt x="535993" y="115044"/>
                  </a:cubicBezTo>
                  <a:cubicBezTo>
                    <a:pt x="535993" y="115872"/>
                    <a:pt x="535809" y="116700"/>
                    <a:pt x="535717" y="117621"/>
                  </a:cubicBezTo>
                  <a:lnTo>
                    <a:pt x="521153" y="117621"/>
                  </a:lnTo>
                  <a:cubicBezTo>
                    <a:pt x="490828" y="117621"/>
                    <a:pt x="466126" y="142286"/>
                    <a:pt x="466126" y="172565"/>
                  </a:cubicBezTo>
                  <a:lnTo>
                    <a:pt x="466126" y="229719"/>
                  </a:lnTo>
                  <a:lnTo>
                    <a:pt x="466126" y="242604"/>
                  </a:lnTo>
                  <a:cubicBezTo>
                    <a:pt x="462715" y="237726"/>
                    <a:pt x="458383" y="233493"/>
                    <a:pt x="453590" y="229995"/>
                  </a:cubicBezTo>
                  <a:cubicBezTo>
                    <a:pt x="444465" y="223369"/>
                    <a:pt x="433404" y="219319"/>
                    <a:pt x="421330" y="219319"/>
                  </a:cubicBezTo>
                  <a:lnTo>
                    <a:pt x="411928" y="219319"/>
                  </a:lnTo>
                  <a:cubicBezTo>
                    <a:pt x="411375" y="217755"/>
                    <a:pt x="410914" y="216098"/>
                    <a:pt x="410914" y="214257"/>
                  </a:cubicBezTo>
                  <a:lnTo>
                    <a:pt x="410914" y="198059"/>
                  </a:lnTo>
                  <a:cubicBezTo>
                    <a:pt x="403817" y="195114"/>
                    <a:pt x="397457" y="191064"/>
                    <a:pt x="391373" y="186463"/>
                  </a:cubicBezTo>
                  <a:lnTo>
                    <a:pt x="377086" y="194746"/>
                  </a:lnTo>
                  <a:cubicBezTo>
                    <a:pt x="373492" y="196863"/>
                    <a:pt x="369160" y="197415"/>
                    <a:pt x="365104" y="196310"/>
                  </a:cubicBezTo>
                  <a:cubicBezTo>
                    <a:pt x="361140" y="195206"/>
                    <a:pt x="357638" y="192629"/>
                    <a:pt x="355610" y="189040"/>
                  </a:cubicBezTo>
                  <a:lnTo>
                    <a:pt x="336530" y="155999"/>
                  </a:lnTo>
                  <a:cubicBezTo>
                    <a:pt x="332198" y="148452"/>
                    <a:pt x="334687" y="138881"/>
                    <a:pt x="342245" y="134463"/>
                  </a:cubicBezTo>
                  <a:lnTo>
                    <a:pt x="356716" y="126180"/>
                  </a:lnTo>
                  <a:cubicBezTo>
                    <a:pt x="356163" y="122498"/>
                    <a:pt x="355518" y="118817"/>
                    <a:pt x="355518" y="115044"/>
                  </a:cubicBezTo>
                  <a:cubicBezTo>
                    <a:pt x="355518" y="111178"/>
                    <a:pt x="356163" y="107497"/>
                    <a:pt x="356716" y="103815"/>
                  </a:cubicBezTo>
                  <a:lnTo>
                    <a:pt x="342245" y="95440"/>
                  </a:lnTo>
                  <a:cubicBezTo>
                    <a:pt x="334687" y="91115"/>
                    <a:pt x="332198" y="81543"/>
                    <a:pt x="336530" y="73996"/>
                  </a:cubicBezTo>
                  <a:lnTo>
                    <a:pt x="355610" y="40956"/>
                  </a:lnTo>
                  <a:cubicBezTo>
                    <a:pt x="357638" y="37366"/>
                    <a:pt x="361140" y="34789"/>
                    <a:pt x="365104" y="33685"/>
                  </a:cubicBezTo>
                  <a:cubicBezTo>
                    <a:pt x="369160" y="32580"/>
                    <a:pt x="373492" y="33133"/>
                    <a:pt x="377086" y="35249"/>
                  </a:cubicBezTo>
                  <a:lnTo>
                    <a:pt x="391373" y="43533"/>
                  </a:lnTo>
                  <a:cubicBezTo>
                    <a:pt x="397457" y="38931"/>
                    <a:pt x="403817" y="34881"/>
                    <a:pt x="410914" y="31936"/>
                  </a:cubicBezTo>
                  <a:lnTo>
                    <a:pt x="410914" y="15738"/>
                  </a:lnTo>
                  <a:cubicBezTo>
                    <a:pt x="410914" y="7087"/>
                    <a:pt x="418011" y="0"/>
                    <a:pt x="426676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5" name="iṥḻíḓê"/>
            <p:cNvSpPr/>
            <p:nvPr/>
          </p:nvSpPr>
          <p:spPr bwMode="auto">
            <a:xfrm>
              <a:off x="1703540" y="3355375"/>
              <a:ext cx="567412" cy="566350"/>
            </a:xfrm>
            <a:custGeom>
              <a:avLst/>
              <a:gdLst>
                <a:gd name="connsiteX0" fmla="*/ 290910 w 605702"/>
                <a:gd name="connsiteY0" fmla="*/ 156336 h 604568"/>
                <a:gd name="connsiteX1" fmla="*/ 335849 w 605702"/>
                <a:gd name="connsiteY1" fmla="*/ 164992 h 604568"/>
                <a:gd name="connsiteX2" fmla="*/ 288310 w 605702"/>
                <a:gd name="connsiteY2" fmla="*/ 212456 h 604568"/>
                <a:gd name="connsiteX3" fmla="*/ 203632 w 605702"/>
                <a:gd name="connsiteY3" fmla="*/ 244717 h 604568"/>
                <a:gd name="connsiteX4" fmla="*/ 203632 w 605702"/>
                <a:gd name="connsiteY4" fmla="*/ 401388 h 604568"/>
                <a:gd name="connsiteX5" fmla="*/ 360547 w 605702"/>
                <a:gd name="connsiteY5" fmla="*/ 401388 h 604568"/>
                <a:gd name="connsiteX6" fmla="*/ 392859 w 605702"/>
                <a:gd name="connsiteY6" fmla="*/ 316749 h 604568"/>
                <a:gd name="connsiteX7" fmla="*/ 440397 w 605702"/>
                <a:gd name="connsiteY7" fmla="*/ 269284 h 604568"/>
                <a:gd name="connsiteX8" fmla="*/ 400287 w 605702"/>
                <a:gd name="connsiteY8" fmla="*/ 441065 h 604568"/>
                <a:gd name="connsiteX9" fmla="*/ 163892 w 605702"/>
                <a:gd name="connsiteY9" fmla="*/ 441065 h 604568"/>
                <a:gd name="connsiteX10" fmla="*/ 163892 w 605702"/>
                <a:gd name="connsiteY10" fmla="*/ 205040 h 604568"/>
                <a:gd name="connsiteX11" fmla="*/ 290910 w 605702"/>
                <a:gd name="connsiteY11" fmla="*/ 156336 h 604568"/>
                <a:gd name="connsiteX12" fmla="*/ 246542 w 605702"/>
                <a:gd name="connsiteY12" fmla="*/ 43775 h 604568"/>
                <a:gd name="connsiteX13" fmla="*/ 422196 w 605702"/>
                <a:gd name="connsiteY13" fmla="*/ 78723 h 604568"/>
                <a:gd name="connsiteX14" fmla="*/ 376794 w 605702"/>
                <a:gd name="connsiteY14" fmla="*/ 124054 h 604568"/>
                <a:gd name="connsiteX15" fmla="*/ 126109 w 605702"/>
                <a:gd name="connsiteY15" fmla="*/ 167345 h 604568"/>
                <a:gd name="connsiteX16" fmla="*/ 126109 w 605702"/>
                <a:gd name="connsiteY16" fmla="*/ 478820 h 604568"/>
                <a:gd name="connsiteX17" fmla="*/ 438073 w 605702"/>
                <a:gd name="connsiteY17" fmla="*/ 478820 h 604568"/>
                <a:gd name="connsiteX18" fmla="*/ 481432 w 605702"/>
                <a:gd name="connsiteY18" fmla="*/ 228527 h 604568"/>
                <a:gd name="connsiteX19" fmla="*/ 526741 w 605702"/>
                <a:gd name="connsiteY19" fmla="*/ 183011 h 604568"/>
                <a:gd name="connsiteX20" fmla="*/ 481432 w 605702"/>
                <a:gd name="connsiteY20" fmla="*/ 522111 h 604568"/>
                <a:gd name="connsiteX21" fmla="*/ 82657 w 605702"/>
                <a:gd name="connsiteY21" fmla="*/ 522111 h 604568"/>
                <a:gd name="connsiteX22" fmla="*/ 82657 w 605702"/>
                <a:gd name="connsiteY22" fmla="*/ 123961 h 604568"/>
                <a:gd name="connsiteX23" fmla="*/ 246542 w 605702"/>
                <a:gd name="connsiteY23" fmla="*/ 43775 h 604568"/>
                <a:gd name="connsiteX24" fmla="*/ 536061 w 605702"/>
                <a:gd name="connsiteY24" fmla="*/ 0 h 604568"/>
                <a:gd name="connsiteX25" fmla="*/ 544232 w 605702"/>
                <a:gd name="connsiteY25" fmla="*/ 61368 h 604568"/>
                <a:gd name="connsiteX26" fmla="*/ 605702 w 605702"/>
                <a:gd name="connsiteY26" fmla="*/ 69526 h 604568"/>
                <a:gd name="connsiteX27" fmla="*/ 524361 w 605702"/>
                <a:gd name="connsiteY27" fmla="*/ 150732 h 604568"/>
                <a:gd name="connsiteX28" fmla="*/ 498361 w 605702"/>
                <a:gd name="connsiteY28" fmla="*/ 147302 h 604568"/>
                <a:gd name="connsiteX29" fmla="*/ 337721 w 605702"/>
                <a:gd name="connsiteY29" fmla="*/ 307767 h 604568"/>
                <a:gd name="connsiteX30" fmla="*/ 339764 w 605702"/>
                <a:gd name="connsiteY30" fmla="*/ 323063 h 604568"/>
                <a:gd name="connsiteX31" fmla="*/ 282101 w 605702"/>
                <a:gd name="connsiteY31" fmla="*/ 380630 h 604568"/>
                <a:gd name="connsiteX32" fmla="*/ 224437 w 605702"/>
                <a:gd name="connsiteY32" fmla="*/ 323063 h 604568"/>
                <a:gd name="connsiteX33" fmla="*/ 282101 w 605702"/>
                <a:gd name="connsiteY33" fmla="*/ 265495 h 604568"/>
                <a:gd name="connsiteX34" fmla="*/ 297422 w 605702"/>
                <a:gd name="connsiteY34" fmla="*/ 267535 h 604568"/>
                <a:gd name="connsiteX35" fmla="*/ 458155 w 605702"/>
                <a:gd name="connsiteY35" fmla="*/ 107162 h 604568"/>
                <a:gd name="connsiteX36" fmla="*/ 454719 w 605702"/>
                <a:gd name="connsiteY36" fmla="*/ 81206 h 60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5702" h="604568">
                  <a:moveTo>
                    <a:pt x="290910" y="156336"/>
                  </a:moveTo>
                  <a:cubicBezTo>
                    <a:pt x="306137" y="157147"/>
                    <a:pt x="321272" y="160032"/>
                    <a:pt x="335849" y="164992"/>
                  </a:cubicBezTo>
                  <a:lnTo>
                    <a:pt x="288310" y="212456"/>
                  </a:lnTo>
                  <a:cubicBezTo>
                    <a:pt x="257856" y="210695"/>
                    <a:pt x="226844" y="221449"/>
                    <a:pt x="203632" y="244717"/>
                  </a:cubicBezTo>
                  <a:cubicBezTo>
                    <a:pt x="160271" y="287918"/>
                    <a:pt x="160271" y="358187"/>
                    <a:pt x="203632" y="401388"/>
                  </a:cubicBezTo>
                  <a:cubicBezTo>
                    <a:pt x="246900" y="444680"/>
                    <a:pt x="317279" y="444680"/>
                    <a:pt x="360547" y="401388"/>
                  </a:cubicBezTo>
                  <a:cubicBezTo>
                    <a:pt x="383852" y="378211"/>
                    <a:pt x="394623" y="347156"/>
                    <a:pt x="392859" y="316749"/>
                  </a:cubicBezTo>
                  <a:lnTo>
                    <a:pt x="440397" y="269284"/>
                  </a:lnTo>
                  <a:cubicBezTo>
                    <a:pt x="460267" y="327595"/>
                    <a:pt x="446897" y="394620"/>
                    <a:pt x="400287" y="441065"/>
                  </a:cubicBezTo>
                  <a:cubicBezTo>
                    <a:pt x="335106" y="506236"/>
                    <a:pt x="229073" y="506236"/>
                    <a:pt x="163892" y="441065"/>
                  </a:cubicBezTo>
                  <a:cubicBezTo>
                    <a:pt x="98619" y="375987"/>
                    <a:pt x="98619" y="270118"/>
                    <a:pt x="163892" y="205040"/>
                  </a:cubicBezTo>
                  <a:cubicBezTo>
                    <a:pt x="198711" y="170137"/>
                    <a:pt x="245228" y="153902"/>
                    <a:pt x="290910" y="156336"/>
                  </a:cubicBezTo>
                  <a:close/>
                  <a:moveTo>
                    <a:pt x="246542" y="43775"/>
                  </a:moveTo>
                  <a:cubicBezTo>
                    <a:pt x="306463" y="36243"/>
                    <a:pt x="368345" y="47900"/>
                    <a:pt x="422196" y="78723"/>
                  </a:cubicBezTo>
                  <a:lnTo>
                    <a:pt x="376794" y="124054"/>
                  </a:lnTo>
                  <a:cubicBezTo>
                    <a:pt x="294811" y="85305"/>
                    <a:pt x="193980" y="99581"/>
                    <a:pt x="126109" y="167345"/>
                  </a:cubicBezTo>
                  <a:cubicBezTo>
                    <a:pt x="39948" y="253371"/>
                    <a:pt x="39948" y="392793"/>
                    <a:pt x="126109" y="478820"/>
                  </a:cubicBezTo>
                  <a:cubicBezTo>
                    <a:pt x="212271" y="564846"/>
                    <a:pt x="351912" y="564846"/>
                    <a:pt x="438073" y="478820"/>
                  </a:cubicBezTo>
                  <a:cubicBezTo>
                    <a:pt x="505944" y="411055"/>
                    <a:pt x="520428" y="310382"/>
                    <a:pt x="481432" y="228527"/>
                  </a:cubicBezTo>
                  <a:lnTo>
                    <a:pt x="526741" y="183011"/>
                  </a:lnTo>
                  <a:cubicBezTo>
                    <a:pt x="588484" y="290544"/>
                    <a:pt x="573350" y="430244"/>
                    <a:pt x="481432" y="522111"/>
                  </a:cubicBezTo>
                  <a:cubicBezTo>
                    <a:pt x="371316" y="632054"/>
                    <a:pt x="192866" y="632054"/>
                    <a:pt x="82657" y="522111"/>
                  </a:cubicBezTo>
                  <a:cubicBezTo>
                    <a:pt x="-27552" y="412168"/>
                    <a:pt x="-27552" y="233997"/>
                    <a:pt x="82657" y="123961"/>
                  </a:cubicBezTo>
                  <a:cubicBezTo>
                    <a:pt x="128662" y="78028"/>
                    <a:pt x="186622" y="51307"/>
                    <a:pt x="246542" y="43775"/>
                  </a:cubicBezTo>
                  <a:close/>
                  <a:moveTo>
                    <a:pt x="536061" y="0"/>
                  </a:moveTo>
                  <a:lnTo>
                    <a:pt x="544232" y="61368"/>
                  </a:lnTo>
                  <a:lnTo>
                    <a:pt x="605702" y="69526"/>
                  </a:lnTo>
                  <a:lnTo>
                    <a:pt x="524361" y="150732"/>
                  </a:lnTo>
                  <a:lnTo>
                    <a:pt x="498361" y="147302"/>
                  </a:lnTo>
                  <a:lnTo>
                    <a:pt x="337721" y="307767"/>
                  </a:lnTo>
                  <a:cubicBezTo>
                    <a:pt x="339021" y="312588"/>
                    <a:pt x="339764" y="317779"/>
                    <a:pt x="339764" y="323063"/>
                  </a:cubicBezTo>
                  <a:cubicBezTo>
                    <a:pt x="339764" y="354859"/>
                    <a:pt x="313950" y="380630"/>
                    <a:pt x="282101" y="380630"/>
                  </a:cubicBezTo>
                  <a:cubicBezTo>
                    <a:pt x="250251" y="380630"/>
                    <a:pt x="224437" y="354859"/>
                    <a:pt x="224437" y="323063"/>
                  </a:cubicBezTo>
                  <a:cubicBezTo>
                    <a:pt x="224437" y="291266"/>
                    <a:pt x="250251" y="265495"/>
                    <a:pt x="282101" y="265495"/>
                  </a:cubicBezTo>
                  <a:cubicBezTo>
                    <a:pt x="287393" y="265495"/>
                    <a:pt x="292500" y="266237"/>
                    <a:pt x="297422" y="267535"/>
                  </a:cubicBezTo>
                  <a:lnTo>
                    <a:pt x="458155" y="107162"/>
                  </a:lnTo>
                  <a:lnTo>
                    <a:pt x="454719" y="812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/>
            <a:p>
              <a:endParaRPr lang="zh-CN" altLang="en-US"/>
            </a:p>
          </p:txBody>
        </p:sp>
        <p:sp>
          <p:nvSpPr>
            <p:cNvPr id="66" name="îsḻiḋè"/>
            <p:cNvSpPr/>
            <p:nvPr/>
          </p:nvSpPr>
          <p:spPr bwMode="auto">
            <a:xfrm>
              <a:off x="9921048" y="3390890"/>
              <a:ext cx="567412" cy="495320"/>
            </a:xfrm>
            <a:custGeom>
              <a:avLst/>
              <a:gdLst>
                <a:gd name="connsiteX0" fmla="*/ 424975 w 608697"/>
                <a:gd name="connsiteY0" fmla="*/ 168488 h 531358"/>
                <a:gd name="connsiteX1" fmla="*/ 387604 w 608697"/>
                <a:gd name="connsiteY1" fmla="*/ 205806 h 531358"/>
                <a:gd name="connsiteX2" fmla="*/ 424975 w 608697"/>
                <a:gd name="connsiteY2" fmla="*/ 243124 h 531358"/>
                <a:gd name="connsiteX3" fmla="*/ 462346 w 608697"/>
                <a:gd name="connsiteY3" fmla="*/ 205806 h 531358"/>
                <a:gd name="connsiteX4" fmla="*/ 424975 w 608697"/>
                <a:gd name="connsiteY4" fmla="*/ 168488 h 531358"/>
                <a:gd name="connsiteX5" fmla="*/ 287947 w 608697"/>
                <a:gd name="connsiteY5" fmla="*/ 168488 h 531358"/>
                <a:gd name="connsiteX6" fmla="*/ 250576 w 608697"/>
                <a:gd name="connsiteY6" fmla="*/ 205806 h 531358"/>
                <a:gd name="connsiteX7" fmla="*/ 287947 w 608697"/>
                <a:gd name="connsiteY7" fmla="*/ 243124 h 531358"/>
                <a:gd name="connsiteX8" fmla="*/ 325318 w 608697"/>
                <a:gd name="connsiteY8" fmla="*/ 205806 h 531358"/>
                <a:gd name="connsiteX9" fmla="*/ 287947 w 608697"/>
                <a:gd name="connsiteY9" fmla="*/ 168488 h 531358"/>
                <a:gd name="connsiteX10" fmla="*/ 102356 w 608697"/>
                <a:gd name="connsiteY10" fmla="*/ 121231 h 531358"/>
                <a:gd name="connsiteX11" fmla="*/ 98850 w 608697"/>
                <a:gd name="connsiteY11" fmla="*/ 127711 h 531358"/>
                <a:gd name="connsiteX12" fmla="*/ 76842 w 608697"/>
                <a:gd name="connsiteY12" fmla="*/ 217990 h 531358"/>
                <a:gd name="connsiteX13" fmla="*/ 98850 w 608697"/>
                <a:gd name="connsiteY13" fmla="*/ 308194 h 531358"/>
                <a:gd name="connsiteX14" fmla="*/ 157488 w 608697"/>
                <a:gd name="connsiteY14" fmla="*/ 380223 h 531358"/>
                <a:gd name="connsiteX15" fmla="*/ 344668 w 608697"/>
                <a:gd name="connsiteY15" fmla="*/ 444729 h 531358"/>
                <a:gd name="connsiteX16" fmla="*/ 370257 w 608697"/>
                <a:gd name="connsiteY16" fmla="*/ 443687 h 531358"/>
                <a:gd name="connsiteX17" fmla="*/ 236717 w 608697"/>
                <a:gd name="connsiteY17" fmla="*/ 477876 h 531358"/>
                <a:gd name="connsiteX18" fmla="*/ 198072 w 608697"/>
                <a:gd name="connsiteY18" fmla="*/ 475344 h 531358"/>
                <a:gd name="connsiteX19" fmla="*/ 82437 w 608697"/>
                <a:gd name="connsiteY19" fmla="*/ 531284 h 531358"/>
                <a:gd name="connsiteX20" fmla="*/ 81542 w 608697"/>
                <a:gd name="connsiteY20" fmla="*/ 531358 h 531358"/>
                <a:gd name="connsiteX21" fmla="*/ 75051 w 608697"/>
                <a:gd name="connsiteY21" fmla="*/ 527857 h 531358"/>
                <a:gd name="connsiteX22" fmla="*/ 74753 w 608697"/>
                <a:gd name="connsiteY22" fmla="*/ 519738 h 531358"/>
                <a:gd name="connsiteX23" fmla="*/ 88778 w 608697"/>
                <a:gd name="connsiteY23" fmla="*/ 435046 h 531358"/>
                <a:gd name="connsiteX24" fmla="*/ 0 w 608697"/>
                <a:gd name="connsiteY24" fmla="*/ 282198 h 531358"/>
                <a:gd name="connsiteX25" fmla="*/ 102356 w 608697"/>
                <a:gd name="connsiteY25" fmla="*/ 121231 h 531358"/>
                <a:gd name="connsiteX26" fmla="*/ 356424 w 608697"/>
                <a:gd name="connsiteY26" fmla="*/ 0 h 531358"/>
                <a:gd name="connsiteX27" fmla="*/ 608697 w 608697"/>
                <a:gd name="connsiteY27" fmla="*/ 211244 h 531358"/>
                <a:gd name="connsiteX28" fmla="*/ 518290 w 608697"/>
                <a:gd name="connsiteY28" fmla="*/ 373401 h 531358"/>
                <a:gd name="connsiteX29" fmla="*/ 531941 w 608697"/>
                <a:gd name="connsiteY29" fmla="*/ 441109 h 531358"/>
                <a:gd name="connsiteX30" fmla="*/ 531120 w 608697"/>
                <a:gd name="connsiteY30" fmla="*/ 465391 h 531358"/>
                <a:gd name="connsiteX31" fmla="*/ 511577 w 608697"/>
                <a:gd name="connsiteY31" fmla="*/ 475894 h 531358"/>
                <a:gd name="connsiteX32" fmla="*/ 509041 w 608697"/>
                <a:gd name="connsiteY32" fmla="*/ 475745 h 531358"/>
                <a:gd name="connsiteX33" fmla="*/ 391408 w 608697"/>
                <a:gd name="connsiteY33" fmla="*/ 420476 h 531358"/>
                <a:gd name="connsiteX34" fmla="*/ 356424 w 608697"/>
                <a:gd name="connsiteY34" fmla="*/ 422487 h 531358"/>
                <a:gd name="connsiteX35" fmla="*/ 104225 w 608697"/>
                <a:gd name="connsiteY35" fmla="*/ 211244 h 531358"/>
                <a:gd name="connsiteX36" fmla="*/ 356424 w 608697"/>
                <a:gd name="connsiteY36" fmla="*/ 0 h 531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8697" h="531358">
                  <a:moveTo>
                    <a:pt x="424975" y="168488"/>
                  </a:moveTo>
                  <a:cubicBezTo>
                    <a:pt x="404312" y="168488"/>
                    <a:pt x="387604" y="185248"/>
                    <a:pt x="387604" y="205806"/>
                  </a:cubicBezTo>
                  <a:cubicBezTo>
                    <a:pt x="387604" y="226439"/>
                    <a:pt x="404312" y="243124"/>
                    <a:pt x="424975" y="243124"/>
                  </a:cubicBezTo>
                  <a:cubicBezTo>
                    <a:pt x="445562" y="243124"/>
                    <a:pt x="462346" y="226439"/>
                    <a:pt x="462346" y="205806"/>
                  </a:cubicBezTo>
                  <a:cubicBezTo>
                    <a:pt x="462346" y="185248"/>
                    <a:pt x="445637" y="168488"/>
                    <a:pt x="424975" y="168488"/>
                  </a:cubicBezTo>
                  <a:close/>
                  <a:moveTo>
                    <a:pt x="287947" y="168488"/>
                  </a:moveTo>
                  <a:cubicBezTo>
                    <a:pt x="267285" y="168488"/>
                    <a:pt x="250576" y="185248"/>
                    <a:pt x="250576" y="205806"/>
                  </a:cubicBezTo>
                  <a:cubicBezTo>
                    <a:pt x="250576" y="226439"/>
                    <a:pt x="267285" y="243124"/>
                    <a:pt x="287947" y="243124"/>
                  </a:cubicBezTo>
                  <a:cubicBezTo>
                    <a:pt x="308610" y="243124"/>
                    <a:pt x="325318" y="226439"/>
                    <a:pt x="325318" y="205806"/>
                  </a:cubicBezTo>
                  <a:cubicBezTo>
                    <a:pt x="325318" y="185248"/>
                    <a:pt x="308610" y="168488"/>
                    <a:pt x="287947" y="168488"/>
                  </a:cubicBezTo>
                  <a:close/>
                  <a:moveTo>
                    <a:pt x="102356" y="121231"/>
                  </a:moveTo>
                  <a:cubicBezTo>
                    <a:pt x="101162" y="123317"/>
                    <a:pt x="99969" y="125477"/>
                    <a:pt x="98850" y="127711"/>
                  </a:cubicBezTo>
                  <a:cubicBezTo>
                    <a:pt x="84227" y="156240"/>
                    <a:pt x="76842" y="186631"/>
                    <a:pt x="76842" y="217990"/>
                  </a:cubicBezTo>
                  <a:cubicBezTo>
                    <a:pt x="76842" y="249275"/>
                    <a:pt x="84227" y="279666"/>
                    <a:pt x="98850" y="308194"/>
                  </a:cubicBezTo>
                  <a:cubicBezTo>
                    <a:pt x="112726" y="335308"/>
                    <a:pt x="132496" y="359516"/>
                    <a:pt x="157488" y="380223"/>
                  </a:cubicBezTo>
                  <a:cubicBezTo>
                    <a:pt x="207845" y="421787"/>
                    <a:pt x="274317" y="444729"/>
                    <a:pt x="344668" y="444729"/>
                  </a:cubicBezTo>
                  <a:cubicBezTo>
                    <a:pt x="353173" y="444729"/>
                    <a:pt x="361752" y="444357"/>
                    <a:pt x="370257" y="443687"/>
                  </a:cubicBezTo>
                  <a:cubicBezTo>
                    <a:pt x="332209" y="465288"/>
                    <a:pt x="286254" y="477876"/>
                    <a:pt x="236717" y="477876"/>
                  </a:cubicBezTo>
                  <a:cubicBezTo>
                    <a:pt x="223736" y="477876"/>
                    <a:pt x="210755" y="477057"/>
                    <a:pt x="198072" y="475344"/>
                  </a:cubicBezTo>
                  <a:cubicBezTo>
                    <a:pt x="160397" y="499478"/>
                    <a:pt x="110637" y="528155"/>
                    <a:pt x="82437" y="531284"/>
                  </a:cubicBezTo>
                  <a:cubicBezTo>
                    <a:pt x="82138" y="531358"/>
                    <a:pt x="81840" y="531358"/>
                    <a:pt x="81542" y="531358"/>
                  </a:cubicBezTo>
                  <a:cubicBezTo>
                    <a:pt x="78930" y="531358"/>
                    <a:pt x="76469" y="530017"/>
                    <a:pt x="75051" y="527857"/>
                  </a:cubicBezTo>
                  <a:cubicBezTo>
                    <a:pt x="73410" y="525399"/>
                    <a:pt x="73335" y="522271"/>
                    <a:pt x="74753" y="519738"/>
                  </a:cubicBezTo>
                  <a:cubicBezTo>
                    <a:pt x="75051" y="519291"/>
                    <a:pt x="99223" y="476014"/>
                    <a:pt x="88778" y="435046"/>
                  </a:cubicBezTo>
                  <a:cubicBezTo>
                    <a:pt x="32303" y="397653"/>
                    <a:pt x="0" y="342160"/>
                    <a:pt x="0" y="282198"/>
                  </a:cubicBezTo>
                  <a:cubicBezTo>
                    <a:pt x="0" y="215532"/>
                    <a:pt x="40584" y="156538"/>
                    <a:pt x="102356" y="121231"/>
                  </a:cubicBezTo>
                  <a:close/>
                  <a:moveTo>
                    <a:pt x="356424" y="0"/>
                  </a:moveTo>
                  <a:cubicBezTo>
                    <a:pt x="495540" y="0"/>
                    <a:pt x="608697" y="94747"/>
                    <a:pt x="608697" y="211244"/>
                  </a:cubicBezTo>
                  <a:cubicBezTo>
                    <a:pt x="608697" y="274408"/>
                    <a:pt x="575802" y="333178"/>
                    <a:pt x="518290" y="373401"/>
                  </a:cubicBezTo>
                  <a:cubicBezTo>
                    <a:pt x="512845" y="406324"/>
                    <a:pt x="531717" y="440811"/>
                    <a:pt x="531941" y="441109"/>
                  </a:cubicBezTo>
                  <a:cubicBezTo>
                    <a:pt x="536267" y="448781"/>
                    <a:pt x="535969" y="458092"/>
                    <a:pt x="531120" y="465391"/>
                  </a:cubicBezTo>
                  <a:cubicBezTo>
                    <a:pt x="526794" y="472021"/>
                    <a:pt x="519484" y="475894"/>
                    <a:pt x="511577" y="475894"/>
                  </a:cubicBezTo>
                  <a:cubicBezTo>
                    <a:pt x="510756" y="475894"/>
                    <a:pt x="509936" y="475894"/>
                    <a:pt x="509041" y="475745"/>
                  </a:cubicBezTo>
                  <a:cubicBezTo>
                    <a:pt x="484574" y="473064"/>
                    <a:pt x="444966" y="454442"/>
                    <a:pt x="391408" y="420476"/>
                  </a:cubicBezTo>
                  <a:cubicBezTo>
                    <a:pt x="379920" y="421817"/>
                    <a:pt x="368135" y="422487"/>
                    <a:pt x="356424" y="422487"/>
                  </a:cubicBezTo>
                  <a:cubicBezTo>
                    <a:pt x="217382" y="422487"/>
                    <a:pt x="104225" y="327741"/>
                    <a:pt x="104225" y="211244"/>
                  </a:cubicBezTo>
                  <a:cubicBezTo>
                    <a:pt x="104225" y="94747"/>
                    <a:pt x="217382" y="0"/>
                    <a:pt x="35642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7" name="îṥḷiḋè"/>
            <p:cNvSpPr/>
            <p:nvPr/>
          </p:nvSpPr>
          <p:spPr bwMode="auto">
            <a:xfrm>
              <a:off x="5778268" y="3381375"/>
              <a:ext cx="635464" cy="514350"/>
            </a:xfrm>
            <a:custGeom>
              <a:avLst/>
              <a:gdLst>
                <a:gd name="connsiteX0" fmla="*/ 355420 w 607568"/>
                <a:gd name="connsiteY0" fmla="*/ 250307 h 491771"/>
                <a:gd name="connsiteX1" fmla="*/ 352312 w 607568"/>
                <a:gd name="connsiteY1" fmla="*/ 251812 h 491771"/>
                <a:gd name="connsiteX2" fmla="*/ 321042 w 607568"/>
                <a:gd name="connsiteY2" fmla="*/ 289814 h 491771"/>
                <a:gd name="connsiteX3" fmla="*/ 321513 w 607568"/>
                <a:gd name="connsiteY3" fmla="*/ 295364 h 491771"/>
                <a:gd name="connsiteX4" fmla="*/ 369736 w 607568"/>
                <a:gd name="connsiteY4" fmla="*/ 338257 h 491771"/>
                <a:gd name="connsiteX5" fmla="*/ 371997 w 607568"/>
                <a:gd name="connsiteY5" fmla="*/ 339104 h 491771"/>
                <a:gd name="connsiteX6" fmla="*/ 373127 w 607568"/>
                <a:gd name="connsiteY6" fmla="*/ 338916 h 491771"/>
                <a:gd name="connsiteX7" fmla="*/ 375293 w 607568"/>
                <a:gd name="connsiteY7" fmla="*/ 336282 h 491771"/>
                <a:gd name="connsiteX8" fmla="*/ 383676 w 607568"/>
                <a:gd name="connsiteY8" fmla="*/ 279467 h 491771"/>
                <a:gd name="connsiteX9" fmla="*/ 376424 w 607568"/>
                <a:gd name="connsiteY9" fmla="*/ 263287 h 491771"/>
                <a:gd name="connsiteX10" fmla="*/ 357681 w 607568"/>
                <a:gd name="connsiteY10" fmla="*/ 250965 h 491771"/>
                <a:gd name="connsiteX11" fmla="*/ 355420 w 607568"/>
                <a:gd name="connsiteY11" fmla="*/ 250307 h 491771"/>
                <a:gd name="connsiteX12" fmla="*/ 258879 w 607568"/>
                <a:gd name="connsiteY12" fmla="*/ 250307 h 491771"/>
                <a:gd name="connsiteX13" fmla="*/ 256712 w 607568"/>
                <a:gd name="connsiteY13" fmla="*/ 250965 h 491771"/>
                <a:gd name="connsiteX14" fmla="*/ 237969 w 607568"/>
                <a:gd name="connsiteY14" fmla="*/ 263287 h 491771"/>
                <a:gd name="connsiteX15" fmla="*/ 230717 w 607568"/>
                <a:gd name="connsiteY15" fmla="*/ 279467 h 491771"/>
                <a:gd name="connsiteX16" fmla="*/ 239100 w 607568"/>
                <a:gd name="connsiteY16" fmla="*/ 336282 h 491771"/>
                <a:gd name="connsiteX17" fmla="*/ 241266 w 607568"/>
                <a:gd name="connsiteY17" fmla="*/ 338916 h 491771"/>
                <a:gd name="connsiteX18" fmla="*/ 242396 w 607568"/>
                <a:gd name="connsiteY18" fmla="*/ 339104 h 491771"/>
                <a:gd name="connsiteX19" fmla="*/ 244657 w 607568"/>
                <a:gd name="connsiteY19" fmla="*/ 338257 h 491771"/>
                <a:gd name="connsiteX20" fmla="*/ 292880 w 607568"/>
                <a:gd name="connsiteY20" fmla="*/ 295364 h 491771"/>
                <a:gd name="connsiteX21" fmla="*/ 293351 w 607568"/>
                <a:gd name="connsiteY21" fmla="*/ 289814 h 491771"/>
                <a:gd name="connsiteX22" fmla="*/ 261987 w 607568"/>
                <a:gd name="connsiteY22" fmla="*/ 251812 h 491771"/>
                <a:gd name="connsiteX23" fmla="*/ 258879 w 607568"/>
                <a:gd name="connsiteY23" fmla="*/ 250307 h 491771"/>
                <a:gd name="connsiteX24" fmla="*/ 500465 w 607568"/>
                <a:gd name="connsiteY24" fmla="*/ 66049 h 491771"/>
                <a:gd name="connsiteX25" fmla="*/ 565743 w 607568"/>
                <a:gd name="connsiteY25" fmla="*/ 130673 h 491771"/>
                <a:gd name="connsiteX26" fmla="*/ 566120 w 607568"/>
                <a:gd name="connsiteY26" fmla="*/ 130673 h 491771"/>
                <a:gd name="connsiteX27" fmla="*/ 580250 w 607568"/>
                <a:gd name="connsiteY27" fmla="*/ 160962 h 491771"/>
                <a:gd name="connsiteX28" fmla="*/ 560939 w 607568"/>
                <a:gd name="connsiteY28" fmla="*/ 182503 h 491771"/>
                <a:gd name="connsiteX29" fmla="*/ 531927 w 607568"/>
                <a:gd name="connsiteY29" fmla="*/ 223799 h 491771"/>
                <a:gd name="connsiteX30" fmla="*/ 528253 w 607568"/>
                <a:gd name="connsiteY30" fmla="*/ 234240 h 491771"/>
                <a:gd name="connsiteX31" fmla="*/ 530797 w 607568"/>
                <a:gd name="connsiteY31" fmla="*/ 246281 h 491771"/>
                <a:gd name="connsiteX32" fmla="*/ 545868 w 607568"/>
                <a:gd name="connsiteY32" fmla="*/ 261143 h 491771"/>
                <a:gd name="connsiteX33" fmla="*/ 558961 w 607568"/>
                <a:gd name="connsiteY33" fmla="*/ 263777 h 491771"/>
                <a:gd name="connsiteX34" fmla="*/ 597299 w 607568"/>
                <a:gd name="connsiteY34" fmla="*/ 301968 h 491771"/>
                <a:gd name="connsiteX35" fmla="*/ 607002 w 607568"/>
                <a:gd name="connsiteY35" fmla="*/ 350788 h 491771"/>
                <a:gd name="connsiteX36" fmla="*/ 601256 w 607568"/>
                <a:gd name="connsiteY36" fmla="*/ 373835 h 491771"/>
                <a:gd name="connsiteX37" fmla="*/ 579685 w 607568"/>
                <a:gd name="connsiteY37" fmla="*/ 384088 h 491771"/>
                <a:gd name="connsiteX38" fmla="*/ 490386 w 607568"/>
                <a:gd name="connsiteY38" fmla="*/ 384088 h 491771"/>
                <a:gd name="connsiteX39" fmla="*/ 467685 w 607568"/>
                <a:gd name="connsiteY39" fmla="*/ 310058 h 491771"/>
                <a:gd name="connsiteX40" fmla="*/ 431702 w 607568"/>
                <a:gd name="connsiteY40" fmla="*/ 267445 h 491771"/>
                <a:gd name="connsiteX41" fmla="*/ 441969 w 607568"/>
                <a:gd name="connsiteY41" fmla="*/ 263777 h 491771"/>
                <a:gd name="connsiteX42" fmla="*/ 455157 w 607568"/>
                <a:gd name="connsiteY42" fmla="*/ 261237 h 491771"/>
                <a:gd name="connsiteX43" fmla="*/ 470228 w 607568"/>
                <a:gd name="connsiteY43" fmla="*/ 246281 h 491771"/>
                <a:gd name="connsiteX44" fmla="*/ 472677 w 607568"/>
                <a:gd name="connsiteY44" fmla="*/ 234240 h 491771"/>
                <a:gd name="connsiteX45" fmla="*/ 469098 w 607568"/>
                <a:gd name="connsiteY45" fmla="*/ 223893 h 491771"/>
                <a:gd name="connsiteX46" fmla="*/ 439991 w 607568"/>
                <a:gd name="connsiteY46" fmla="*/ 182503 h 491771"/>
                <a:gd name="connsiteX47" fmla="*/ 426144 w 607568"/>
                <a:gd name="connsiteY47" fmla="*/ 172720 h 491771"/>
                <a:gd name="connsiteX48" fmla="*/ 441404 w 607568"/>
                <a:gd name="connsiteY48" fmla="*/ 143278 h 491771"/>
                <a:gd name="connsiteX49" fmla="*/ 439708 w 607568"/>
                <a:gd name="connsiteY49" fmla="*/ 107438 h 491771"/>
                <a:gd name="connsiteX50" fmla="*/ 500465 w 607568"/>
                <a:gd name="connsiteY50" fmla="*/ 66049 h 491771"/>
                <a:gd name="connsiteX51" fmla="*/ 107100 w 607568"/>
                <a:gd name="connsiteY51" fmla="*/ 66049 h 491771"/>
                <a:gd name="connsiteX52" fmla="*/ 171341 w 607568"/>
                <a:gd name="connsiteY52" fmla="*/ 123618 h 491771"/>
                <a:gd name="connsiteX53" fmla="*/ 172849 w 607568"/>
                <a:gd name="connsiteY53" fmla="*/ 143278 h 491771"/>
                <a:gd name="connsiteX54" fmla="*/ 184246 w 607568"/>
                <a:gd name="connsiteY54" fmla="*/ 168205 h 491771"/>
                <a:gd name="connsiteX55" fmla="*/ 167574 w 607568"/>
                <a:gd name="connsiteY55" fmla="*/ 182503 h 491771"/>
                <a:gd name="connsiteX56" fmla="*/ 138468 w 607568"/>
                <a:gd name="connsiteY56" fmla="*/ 223799 h 491771"/>
                <a:gd name="connsiteX57" fmla="*/ 134794 w 607568"/>
                <a:gd name="connsiteY57" fmla="*/ 234240 h 491771"/>
                <a:gd name="connsiteX58" fmla="*/ 137337 w 607568"/>
                <a:gd name="connsiteY58" fmla="*/ 246281 h 491771"/>
                <a:gd name="connsiteX59" fmla="*/ 152408 w 607568"/>
                <a:gd name="connsiteY59" fmla="*/ 261143 h 491771"/>
                <a:gd name="connsiteX60" fmla="*/ 165596 w 607568"/>
                <a:gd name="connsiteY60" fmla="*/ 263777 h 491771"/>
                <a:gd name="connsiteX61" fmla="*/ 179442 w 607568"/>
                <a:gd name="connsiteY61" fmla="*/ 268856 h 491771"/>
                <a:gd name="connsiteX62" fmla="*/ 146662 w 607568"/>
                <a:gd name="connsiteY62" fmla="*/ 310058 h 491771"/>
                <a:gd name="connsiteX63" fmla="*/ 123867 w 607568"/>
                <a:gd name="connsiteY63" fmla="*/ 384088 h 491771"/>
                <a:gd name="connsiteX64" fmla="*/ 27883 w 607568"/>
                <a:gd name="connsiteY64" fmla="*/ 384088 h 491771"/>
                <a:gd name="connsiteX65" fmla="*/ 6312 w 607568"/>
                <a:gd name="connsiteY65" fmla="*/ 373835 h 491771"/>
                <a:gd name="connsiteX66" fmla="*/ 566 w 607568"/>
                <a:gd name="connsiteY66" fmla="*/ 350788 h 491771"/>
                <a:gd name="connsiteX67" fmla="*/ 10268 w 607568"/>
                <a:gd name="connsiteY67" fmla="*/ 301968 h 491771"/>
                <a:gd name="connsiteX68" fmla="*/ 48606 w 607568"/>
                <a:gd name="connsiteY68" fmla="*/ 263777 h 491771"/>
                <a:gd name="connsiteX69" fmla="*/ 61699 w 607568"/>
                <a:gd name="connsiteY69" fmla="*/ 261237 h 491771"/>
                <a:gd name="connsiteX70" fmla="*/ 76770 w 607568"/>
                <a:gd name="connsiteY70" fmla="*/ 246281 h 491771"/>
                <a:gd name="connsiteX71" fmla="*/ 79313 w 607568"/>
                <a:gd name="connsiteY71" fmla="*/ 234240 h 491771"/>
                <a:gd name="connsiteX72" fmla="*/ 75639 w 607568"/>
                <a:gd name="connsiteY72" fmla="*/ 223893 h 491771"/>
                <a:gd name="connsiteX73" fmla="*/ 46628 w 607568"/>
                <a:gd name="connsiteY73" fmla="*/ 182503 h 491771"/>
                <a:gd name="connsiteX74" fmla="*/ 27318 w 607568"/>
                <a:gd name="connsiteY74" fmla="*/ 160962 h 491771"/>
                <a:gd name="connsiteX75" fmla="*/ 41447 w 607568"/>
                <a:gd name="connsiteY75" fmla="*/ 130673 h 491771"/>
                <a:gd name="connsiteX76" fmla="*/ 41824 w 607568"/>
                <a:gd name="connsiteY76" fmla="*/ 130673 h 491771"/>
                <a:gd name="connsiteX77" fmla="*/ 107100 w 607568"/>
                <a:gd name="connsiteY77" fmla="*/ 66049 h 491771"/>
                <a:gd name="connsiteX78" fmla="*/ 298626 w 607568"/>
                <a:gd name="connsiteY78" fmla="*/ 0 h 491771"/>
                <a:gd name="connsiteX79" fmla="*/ 315956 w 607568"/>
                <a:gd name="connsiteY79" fmla="*/ 0 h 491771"/>
                <a:gd name="connsiteX80" fmla="*/ 401854 w 607568"/>
                <a:gd name="connsiteY80" fmla="*/ 85787 h 491771"/>
                <a:gd name="connsiteX81" fmla="*/ 401854 w 607568"/>
                <a:gd name="connsiteY81" fmla="*/ 95476 h 491771"/>
                <a:gd name="connsiteX82" fmla="*/ 421633 w 607568"/>
                <a:gd name="connsiteY82" fmla="*/ 138840 h 491771"/>
                <a:gd name="connsiteX83" fmla="*/ 417960 w 607568"/>
                <a:gd name="connsiteY83" fmla="*/ 149281 h 491771"/>
                <a:gd name="connsiteX84" fmla="*/ 417112 w 607568"/>
                <a:gd name="connsiteY84" fmla="*/ 151068 h 491771"/>
                <a:gd name="connsiteX85" fmla="*/ 411273 w 607568"/>
                <a:gd name="connsiteY85" fmla="*/ 159534 h 491771"/>
                <a:gd name="connsiteX86" fmla="*/ 410896 w 607568"/>
                <a:gd name="connsiteY86" fmla="*/ 159910 h 491771"/>
                <a:gd name="connsiteX87" fmla="*/ 394037 w 607568"/>
                <a:gd name="connsiteY87" fmla="*/ 169787 h 491771"/>
                <a:gd name="connsiteX88" fmla="*/ 384900 w 607568"/>
                <a:gd name="connsiteY88" fmla="*/ 189541 h 491771"/>
                <a:gd name="connsiteX89" fmla="*/ 384712 w 607568"/>
                <a:gd name="connsiteY89" fmla="*/ 189823 h 491771"/>
                <a:gd name="connsiteX90" fmla="*/ 373316 w 607568"/>
                <a:gd name="connsiteY90" fmla="*/ 207131 h 491771"/>
                <a:gd name="connsiteX91" fmla="*/ 372750 w 607568"/>
                <a:gd name="connsiteY91" fmla="*/ 207789 h 491771"/>
                <a:gd name="connsiteX92" fmla="*/ 359847 w 607568"/>
                <a:gd name="connsiteY92" fmla="*/ 222275 h 491771"/>
                <a:gd name="connsiteX93" fmla="*/ 359188 w 607568"/>
                <a:gd name="connsiteY93" fmla="*/ 222934 h 491771"/>
                <a:gd name="connsiteX94" fmla="*/ 345154 w 607568"/>
                <a:gd name="connsiteY94" fmla="*/ 234598 h 491771"/>
                <a:gd name="connsiteX95" fmla="*/ 345625 w 607568"/>
                <a:gd name="connsiteY95" fmla="*/ 236855 h 491771"/>
                <a:gd name="connsiteX96" fmla="*/ 348639 w 607568"/>
                <a:gd name="connsiteY96" fmla="*/ 235538 h 491771"/>
                <a:gd name="connsiteX97" fmla="*/ 355514 w 607568"/>
                <a:gd name="connsiteY97" fmla="*/ 234033 h 491771"/>
                <a:gd name="connsiteX98" fmla="*/ 366628 w 607568"/>
                <a:gd name="connsiteY98" fmla="*/ 237326 h 491771"/>
                <a:gd name="connsiteX99" fmla="*/ 385371 w 607568"/>
                <a:gd name="connsiteY99" fmla="*/ 249648 h 491771"/>
                <a:gd name="connsiteX100" fmla="*/ 399876 w 607568"/>
                <a:gd name="connsiteY100" fmla="*/ 279373 h 491771"/>
                <a:gd name="connsiteX101" fmla="*/ 430016 w 607568"/>
                <a:gd name="connsiteY101" fmla="*/ 289814 h 491771"/>
                <a:gd name="connsiteX102" fmla="*/ 448382 w 607568"/>
                <a:gd name="connsiteY102" fmla="*/ 316058 h 491771"/>
                <a:gd name="connsiteX103" fmla="*/ 481630 w 607568"/>
                <a:gd name="connsiteY103" fmla="*/ 424515 h 491771"/>
                <a:gd name="connsiteX104" fmla="*/ 483891 w 607568"/>
                <a:gd name="connsiteY104" fmla="*/ 436461 h 491771"/>
                <a:gd name="connsiteX105" fmla="*/ 473718 w 607568"/>
                <a:gd name="connsiteY105" fmla="*/ 470700 h 491771"/>
                <a:gd name="connsiteX106" fmla="*/ 443956 w 607568"/>
                <a:gd name="connsiteY106" fmla="*/ 490360 h 491771"/>
                <a:gd name="connsiteX107" fmla="*/ 431805 w 607568"/>
                <a:gd name="connsiteY107" fmla="*/ 491771 h 491771"/>
                <a:gd name="connsiteX108" fmla="*/ 325375 w 607568"/>
                <a:gd name="connsiteY108" fmla="*/ 491771 h 491771"/>
                <a:gd name="connsiteX109" fmla="*/ 337430 w 607568"/>
                <a:gd name="connsiteY109" fmla="*/ 415296 h 491771"/>
                <a:gd name="connsiteX110" fmla="*/ 334605 w 607568"/>
                <a:gd name="connsiteY110" fmla="*/ 389052 h 491771"/>
                <a:gd name="connsiteX111" fmla="*/ 323962 w 607568"/>
                <a:gd name="connsiteY111" fmla="*/ 360927 h 491771"/>
                <a:gd name="connsiteX112" fmla="*/ 337430 w 607568"/>
                <a:gd name="connsiteY112" fmla="*/ 347476 h 491771"/>
                <a:gd name="connsiteX113" fmla="*/ 307196 w 607568"/>
                <a:gd name="connsiteY113" fmla="*/ 317281 h 491771"/>
                <a:gd name="connsiteX114" fmla="*/ 276868 w 607568"/>
                <a:gd name="connsiteY114" fmla="*/ 347476 h 491771"/>
                <a:gd name="connsiteX115" fmla="*/ 290337 w 607568"/>
                <a:gd name="connsiteY115" fmla="*/ 360927 h 491771"/>
                <a:gd name="connsiteX116" fmla="*/ 279694 w 607568"/>
                <a:gd name="connsiteY116" fmla="*/ 389052 h 491771"/>
                <a:gd name="connsiteX117" fmla="*/ 276963 w 607568"/>
                <a:gd name="connsiteY117" fmla="*/ 415296 h 491771"/>
                <a:gd name="connsiteX118" fmla="*/ 288736 w 607568"/>
                <a:gd name="connsiteY118" fmla="*/ 491771 h 491771"/>
                <a:gd name="connsiteX119" fmla="*/ 182493 w 607568"/>
                <a:gd name="connsiteY119" fmla="*/ 491771 h 491771"/>
                <a:gd name="connsiteX120" fmla="*/ 170437 w 607568"/>
                <a:gd name="connsiteY120" fmla="*/ 490360 h 491771"/>
                <a:gd name="connsiteX121" fmla="*/ 140675 w 607568"/>
                <a:gd name="connsiteY121" fmla="*/ 470700 h 491771"/>
                <a:gd name="connsiteX122" fmla="*/ 132669 w 607568"/>
                <a:gd name="connsiteY122" fmla="*/ 424515 h 491771"/>
                <a:gd name="connsiteX123" fmla="*/ 166011 w 607568"/>
                <a:gd name="connsiteY123" fmla="*/ 316058 h 491771"/>
                <a:gd name="connsiteX124" fmla="*/ 184377 w 607568"/>
                <a:gd name="connsiteY124" fmla="*/ 289814 h 491771"/>
                <a:gd name="connsiteX125" fmla="*/ 214517 w 607568"/>
                <a:gd name="connsiteY125" fmla="*/ 279373 h 491771"/>
                <a:gd name="connsiteX126" fmla="*/ 214517 w 607568"/>
                <a:gd name="connsiteY126" fmla="*/ 279279 h 491771"/>
                <a:gd name="connsiteX127" fmla="*/ 229022 w 607568"/>
                <a:gd name="connsiteY127" fmla="*/ 249648 h 491771"/>
                <a:gd name="connsiteX128" fmla="*/ 247765 w 607568"/>
                <a:gd name="connsiteY128" fmla="*/ 237326 h 491771"/>
                <a:gd name="connsiteX129" fmla="*/ 258879 w 607568"/>
                <a:gd name="connsiteY129" fmla="*/ 234033 h 491771"/>
                <a:gd name="connsiteX130" fmla="*/ 265754 w 607568"/>
                <a:gd name="connsiteY130" fmla="*/ 235538 h 491771"/>
                <a:gd name="connsiteX131" fmla="*/ 268768 w 607568"/>
                <a:gd name="connsiteY131" fmla="*/ 236855 h 491771"/>
                <a:gd name="connsiteX132" fmla="*/ 269239 w 607568"/>
                <a:gd name="connsiteY132" fmla="*/ 234598 h 491771"/>
                <a:gd name="connsiteX133" fmla="*/ 255205 w 607568"/>
                <a:gd name="connsiteY133" fmla="*/ 222934 h 491771"/>
                <a:gd name="connsiteX134" fmla="*/ 254546 w 607568"/>
                <a:gd name="connsiteY134" fmla="*/ 222275 h 491771"/>
                <a:gd name="connsiteX135" fmla="*/ 241548 w 607568"/>
                <a:gd name="connsiteY135" fmla="*/ 207789 h 491771"/>
                <a:gd name="connsiteX136" fmla="*/ 241077 w 607568"/>
                <a:gd name="connsiteY136" fmla="*/ 207225 h 491771"/>
                <a:gd name="connsiteX137" fmla="*/ 229681 w 607568"/>
                <a:gd name="connsiteY137" fmla="*/ 189823 h 491771"/>
                <a:gd name="connsiteX138" fmla="*/ 229493 w 607568"/>
                <a:gd name="connsiteY138" fmla="*/ 189635 h 491771"/>
                <a:gd name="connsiteX139" fmla="*/ 220356 w 607568"/>
                <a:gd name="connsiteY139" fmla="*/ 169787 h 491771"/>
                <a:gd name="connsiteX140" fmla="*/ 203497 w 607568"/>
                <a:gd name="connsiteY140" fmla="*/ 159910 h 491771"/>
                <a:gd name="connsiteX141" fmla="*/ 203120 w 607568"/>
                <a:gd name="connsiteY141" fmla="*/ 159534 h 491771"/>
                <a:gd name="connsiteX142" fmla="*/ 197281 w 607568"/>
                <a:gd name="connsiteY142" fmla="*/ 151068 h 491771"/>
                <a:gd name="connsiteX143" fmla="*/ 196433 w 607568"/>
                <a:gd name="connsiteY143" fmla="*/ 149281 h 491771"/>
                <a:gd name="connsiteX144" fmla="*/ 192666 w 607568"/>
                <a:gd name="connsiteY144" fmla="*/ 138840 h 491771"/>
                <a:gd name="connsiteX145" fmla="*/ 212727 w 607568"/>
                <a:gd name="connsiteY145" fmla="*/ 95476 h 491771"/>
                <a:gd name="connsiteX146" fmla="*/ 212727 w 607568"/>
                <a:gd name="connsiteY146" fmla="*/ 85787 h 491771"/>
                <a:gd name="connsiteX147" fmla="*/ 298626 w 607568"/>
                <a:gd name="connsiteY147" fmla="*/ 0 h 49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607568" h="491771">
                  <a:moveTo>
                    <a:pt x="355420" y="250307"/>
                  </a:moveTo>
                  <a:cubicBezTo>
                    <a:pt x="354290" y="250307"/>
                    <a:pt x="353160" y="250871"/>
                    <a:pt x="352312" y="251812"/>
                  </a:cubicBezTo>
                  <a:lnTo>
                    <a:pt x="321042" y="289814"/>
                  </a:lnTo>
                  <a:cubicBezTo>
                    <a:pt x="319723" y="291507"/>
                    <a:pt x="319912" y="293953"/>
                    <a:pt x="321513" y="295364"/>
                  </a:cubicBezTo>
                  <a:lnTo>
                    <a:pt x="369736" y="338257"/>
                  </a:lnTo>
                  <a:cubicBezTo>
                    <a:pt x="370396" y="338822"/>
                    <a:pt x="371149" y="339104"/>
                    <a:pt x="371997" y="339104"/>
                  </a:cubicBezTo>
                  <a:cubicBezTo>
                    <a:pt x="372374" y="339104"/>
                    <a:pt x="372750" y="339010"/>
                    <a:pt x="373127" y="338916"/>
                  </a:cubicBezTo>
                  <a:cubicBezTo>
                    <a:pt x="374257" y="338539"/>
                    <a:pt x="375105" y="337505"/>
                    <a:pt x="375293" y="336282"/>
                  </a:cubicBezTo>
                  <a:lnTo>
                    <a:pt x="383676" y="279467"/>
                  </a:lnTo>
                  <a:cubicBezTo>
                    <a:pt x="384618" y="273164"/>
                    <a:pt x="381792" y="266768"/>
                    <a:pt x="376424" y="263287"/>
                  </a:cubicBezTo>
                  <a:lnTo>
                    <a:pt x="357681" y="250965"/>
                  </a:lnTo>
                  <a:cubicBezTo>
                    <a:pt x="357021" y="250495"/>
                    <a:pt x="356174" y="250307"/>
                    <a:pt x="355420" y="250307"/>
                  </a:cubicBezTo>
                  <a:close/>
                  <a:moveTo>
                    <a:pt x="258879" y="250307"/>
                  </a:moveTo>
                  <a:cubicBezTo>
                    <a:pt x="258125" y="250307"/>
                    <a:pt x="257372" y="250495"/>
                    <a:pt x="256712" y="250965"/>
                  </a:cubicBezTo>
                  <a:lnTo>
                    <a:pt x="237969" y="263287"/>
                  </a:lnTo>
                  <a:cubicBezTo>
                    <a:pt x="232601" y="266768"/>
                    <a:pt x="229775" y="273164"/>
                    <a:pt x="230717" y="279467"/>
                  </a:cubicBezTo>
                  <a:lnTo>
                    <a:pt x="239100" y="336282"/>
                  </a:lnTo>
                  <a:cubicBezTo>
                    <a:pt x="239288" y="337505"/>
                    <a:pt x="240136" y="338539"/>
                    <a:pt x="241266" y="338916"/>
                  </a:cubicBezTo>
                  <a:cubicBezTo>
                    <a:pt x="241643" y="339010"/>
                    <a:pt x="242019" y="339104"/>
                    <a:pt x="242396" y="339104"/>
                  </a:cubicBezTo>
                  <a:cubicBezTo>
                    <a:pt x="243244" y="339104"/>
                    <a:pt x="243997" y="338822"/>
                    <a:pt x="244657" y="338257"/>
                  </a:cubicBezTo>
                  <a:lnTo>
                    <a:pt x="292880" y="295364"/>
                  </a:lnTo>
                  <a:cubicBezTo>
                    <a:pt x="294481" y="293953"/>
                    <a:pt x="294670" y="291507"/>
                    <a:pt x="293351" y="289814"/>
                  </a:cubicBezTo>
                  <a:lnTo>
                    <a:pt x="261987" y="251812"/>
                  </a:lnTo>
                  <a:cubicBezTo>
                    <a:pt x="261233" y="250871"/>
                    <a:pt x="260103" y="250307"/>
                    <a:pt x="258879" y="250307"/>
                  </a:cubicBezTo>
                  <a:close/>
                  <a:moveTo>
                    <a:pt x="500465" y="66049"/>
                  </a:moveTo>
                  <a:cubicBezTo>
                    <a:pt x="548129" y="66049"/>
                    <a:pt x="562447" y="93516"/>
                    <a:pt x="565743" y="130673"/>
                  </a:cubicBezTo>
                  <a:cubicBezTo>
                    <a:pt x="565932" y="130673"/>
                    <a:pt x="566026" y="130673"/>
                    <a:pt x="566120" y="130673"/>
                  </a:cubicBezTo>
                  <a:cubicBezTo>
                    <a:pt x="577141" y="133118"/>
                    <a:pt x="583358" y="146664"/>
                    <a:pt x="580250" y="160962"/>
                  </a:cubicBezTo>
                  <a:cubicBezTo>
                    <a:pt x="577706" y="172532"/>
                    <a:pt x="569700" y="180904"/>
                    <a:pt x="560939" y="182503"/>
                  </a:cubicBezTo>
                  <a:cubicBezTo>
                    <a:pt x="554628" y="199529"/>
                    <a:pt x="543796" y="214016"/>
                    <a:pt x="531927" y="223799"/>
                  </a:cubicBezTo>
                  <a:cubicBezTo>
                    <a:pt x="528913" y="226338"/>
                    <a:pt x="527500" y="230383"/>
                    <a:pt x="528253" y="234240"/>
                  </a:cubicBezTo>
                  <a:lnTo>
                    <a:pt x="530797" y="246281"/>
                  </a:lnTo>
                  <a:cubicBezTo>
                    <a:pt x="532304" y="253806"/>
                    <a:pt x="538238" y="259732"/>
                    <a:pt x="545868" y="261143"/>
                  </a:cubicBezTo>
                  <a:lnTo>
                    <a:pt x="558961" y="263777"/>
                  </a:lnTo>
                  <a:cubicBezTo>
                    <a:pt x="578366" y="267634"/>
                    <a:pt x="593437" y="282684"/>
                    <a:pt x="597299" y="301968"/>
                  </a:cubicBezTo>
                  <a:lnTo>
                    <a:pt x="607002" y="350788"/>
                  </a:lnTo>
                  <a:cubicBezTo>
                    <a:pt x="608697" y="358972"/>
                    <a:pt x="606531" y="367438"/>
                    <a:pt x="601256" y="373835"/>
                  </a:cubicBezTo>
                  <a:cubicBezTo>
                    <a:pt x="595981" y="380325"/>
                    <a:pt x="588068" y="384088"/>
                    <a:pt x="579685" y="384088"/>
                  </a:cubicBezTo>
                  <a:lnTo>
                    <a:pt x="490386" y="384088"/>
                  </a:lnTo>
                  <a:lnTo>
                    <a:pt x="467685" y="310058"/>
                  </a:lnTo>
                  <a:cubicBezTo>
                    <a:pt x="461845" y="291150"/>
                    <a:pt x="448563" y="276194"/>
                    <a:pt x="431702" y="267445"/>
                  </a:cubicBezTo>
                  <a:cubicBezTo>
                    <a:pt x="434999" y="265940"/>
                    <a:pt x="438295" y="264529"/>
                    <a:pt x="441969" y="263777"/>
                  </a:cubicBezTo>
                  <a:lnTo>
                    <a:pt x="455157" y="261237"/>
                  </a:lnTo>
                  <a:cubicBezTo>
                    <a:pt x="462692" y="259732"/>
                    <a:pt x="468627" y="253806"/>
                    <a:pt x="470228" y="246281"/>
                  </a:cubicBezTo>
                  <a:lnTo>
                    <a:pt x="472677" y="234240"/>
                  </a:lnTo>
                  <a:cubicBezTo>
                    <a:pt x="473525" y="230383"/>
                    <a:pt x="472112" y="226338"/>
                    <a:pt x="469098" y="223893"/>
                  </a:cubicBezTo>
                  <a:cubicBezTo>
                    <a:pt x="457229" y="214016"/>
                    <a:pt x="446302" y="199529"/>
                    <a:pt x="439991" y="182503"/>
                  </a:cubicBezTo>
                  <a:cubicBezTo>
                    <a:pt x="434716" y="181563"/>
                    <a:pt x="429818" y="177894"/>
                    <a:pt x="426144" y="172720"/>
                  </a:cubicBezTo>
                  <a:cubicBezTo>
                    <a:pt x="433303" y="164725"/>
                    <a:pt x="438861" y="154754"/>
                    <a:pt x="441404" y="143278"/>
                  </a:cubicBezTo>
                  <a:cubicBezTo>
                    <a:pt x="444324" y="130485"/>
                    <a:pt x="443476" y="118068"/>
                    <a:pt x="439708" y="107438"/>
                  </a:cubicBezTo>
                  <a:cubicBezTo>
                    <a:pt x="447244" y="82699"/>
                    <a:pt x="464200" y="66049"/>
                    <a:pt x="500465" y="66049"/>
                  </a:cubicBezTo>
                  <a:close/>
                  <a:moveTo>
                    <a:pt x="107100" y="66049"/>
                  </a:moveTo>
                  <a:cubicBezTo>
                    <a:pt x="151561" y="66049"/>
                    <a:pt x="166820" y="90130"/>
                    <a:pt x="171341" y="123618"/>
                  </a:cubicBezTo>
                  <a:cubicBezTo>
                    <a:pt x="170965" y="129920"/>
                    <a:pt x="171436" y="136505"/>
                    <a:pt x="172849" y="143278"/>
                  </a:cubicBezTo>
                  <a:cubicBezTo>
                    <a:pt x="174921" y="152590"/>
                    <a:pt x="178971" y="161056"/>
                    <a:pt x="184246" y="168205"/>
                  </a:cubicBezTo>
                  <a:cubicBezTo>
                    <a:pt x="180573" y="175919"/>
                    <a:pt x="174356" y="181281"/>
                    <a:pt x="167574" y="182503"/>
                  </a:cubicBezTo>
                  <a:cubicBezTo>
                    <a:pt x="161263" y="199529"/>
                    <a:pt x="150336" y="214016"/>
                    <a:pt x="138468" y="223799"/>
                  </a:cubicBezTo>
                  <a:cubicBezTo>
                    <a:pt x="135453" y="226338"/>
                    <a:pt x="134040" y="230383"/>
                    <a:pt x="134794" y="234240"/>
                  </a:cubicBezTo>
                  <a:lnTo>
                    <a:pt x="137337" y="246281"/>
                  </a:lnTo>
                  <a:cubicBezTo>
                    <a:pt x="138939" y="253806"/>
                    <a:pt x="144873" y="259732"/>
                    <a:pt x="152408" y="261143"/>
                  </a:cubicBezTo>
                  <a:lnTo>
                    <a:pt x="165596" y="263777"/>
                  </a:lnTo>
                  <a:cubicBezTo>
                    <a:pt x="170494" y="264812"/>
                    <a:pt x="175203" y="266505"/>
                    <a:pt x="179442" y="268856"/>
                  </a:cubicBezTo>
                  <a:cubicBezTo>
                    <a:pt x="164088" y="277793"/>
                    <a:pt x="152126" y="292279"/>
                    <a:pt x="146662" y="310058"/>
                  </a:cubicBezTo>
                  <a:lnTo>
                    <a:pt x="123867" y="384088"/>
                  </a:lnTo>
                  <a:lnTo>
                    <a:pt x="27883" y="384088"/>
                  </a:lnTo>
                  <a:cubicBezTo>
                    <a:pt x="19499" y="384088"/>
                    <a:pt x="11587" y="380325"/>
                    <a:pt x="6312" y="373835"/>
                  </a:cubicBezTo>
                  <a:cubicBezTo>
                    <a:pt x="1037" y="367438"/>
                    <a:pt x="-1129" y="358972"/>
                    <a:pt x="566" y="350788"/>
                  </a:cubicBezTo>
                  <a:lnTo>
                    <a:pt x="10268" y="301968"/>
                  </a:lnTo>
                  <a:cubicBezTo>
                    <a:pt x="14130" y="282684"/>
                    <a:pt x="29202" y="267634"/>
                    <a:pt x="48606" y="263777"/>
                  </a:cubicBezTo>
                  <a:lnTo>
                    <a:pt x="61699" y="261237"/>
                  </a:lnTo>
                  <a:cubicBezTo>
                    <a:pt x="69328" y="259732"/>
                    <a:pt x="75263" y="253806"/>
                    <a:pt x="76770" y="246281"/>
                  </a:cubicBezTo>
                  <a:lnTo>
                    <a:pt x="79313" y="234240"/>
                  </a:lnTo>
                  <a:cubicBezTo>
                    <a:pt x="80067" y="230383"/>
                    <a:pt x="78654" y="226338"/>
                    <a:pt x="75639" y="223893"/>
                  </a:cubicBezTo>
                  <a:cubicBezTo>
                    <a:pt x="63771" y="214016"/>
                    <a:pt x="52939" y="199623"/>
                    <a:pt x="46628" y="182503"/>
                  </a:cubicBezTo>
                  <a:cubicBezTo>
                    <a:pt x="37867" y="180904"/>
                    <a:pt x="29861" y="172532"/>
                    <a:pt x="27318" y="160962"/>
                  </a:cubicBezTo>
                  <a:cubicBezTo>
                    <a:pt x="24115" y="146664"/>
                    <a:pt x="30426" y="133118"/>
                    <a:pt x="41447" y="130673"/>
                  </a:cubicBezTo>
                  <a:cubicBezTo>
                    <a:pt x="41541" y="130673"/>
                    <a:pt x="41729" y="130673"/>
                    <a:pt x="41824" y="130673"/>
                  </a:cubicBezTo>
                  <a:cubicBezTo>
                    <a:pt x="45403" y="93516"/>
                    <a:pt x="60192" y="66049"/>
                    <a:pt x="107100" y="66049"/>
                  </a:cubicBezTo>
                  <a:close/>
                  <a:moveTo>
                    <a:pt x="298626" y="0"/>
                  </a:moveTo>
                  <a:lnTo>
                    <a:pt x="315956" y="0"/>
                  </a:lnTo>
                  <a:cubicBezTo>
                    <a:pt x="363426" y="0"/>
                    <a:pt x="401854" y="38378"/>
                    <a:pt x="401854" y="85787"/>
                  </a:cubicBezTo>
                  <a:lnTo>
                    <a:pt x="401854" y="95476"/>
                  </a:lnTo>
                  <a:cubicBezTo>
                    <a:pt x="417301" y="99238"/>
                    <a:pt x="426154" y="118522"/>
                    <a:pt x="421633" y="138840"/>
                  </a:cubicBezTo>
                  <a:cubicBezTo>
                    <a:pt x="420880" y="142602"/>
                    <a:pt x="419467" y="146083"/>
                    <a:pt x="417960" y="149281"/>
                  </a:cubicBezTo>
                  <a:cubicBezTo>
                    <a:pt x="417677" y="149939"/>
                    <a:pt x="417395" y="150504"/>
                    <a:pt x="417112" y="151068"/>
                  </a:cubicBezTo>
                  <a:cubicBezTo>
                    <a:pt x="415417" y="154172"/>
                    <a:pt x="413533" y="157088"/>
                    <a:pt x="411273" y="159534"/>
                  </a:cubicBezTo>
                  <a:cubicBezTo>
                    <a:pt x="411179" y="159628"/>
                    <a:pt x="410990" y="159816"/>
                    <a:pt x="410896" y="159910"/>
                  </a:cubicBezTo>
                  <a:cubicBezTo>
                    <a:pt x="406092" y="165084"/>
                    <a:pt x="400159" y="168658"/>
                    <a:pt x="394037" y="169787"/>
                  </a:cubicBezTo>
                  <a:cubicBezTo>
                    <a:pt x="391494" y="176654"/>
                    <a:pt x="388385" y="183332"/>
                    <a:pt x="384900" y="189541"/>
                  </a:cubicBezTo>
                  <a:cubicBezTo>
                    <a:pt x="384806" y="189635"/>
                    <a:pt x="384806" y="189729"/>
                    <a:pt x="384712" y="189823"/>
                  </a:cubicBezTo>
                  <a:cubicBezTo>
                    <a:pt x="381227" y="196031"/>
                    <a:pt x="377460" y="201769"/>
                    <a:pt x="373316" y="207131"/>
                  </a:cubicBezTo>
                  <a:cubicBezTo>
                    <a:pt x="373127" y="207413"/>
                    <a:pt x="372939" y="207601"/>
                    <a:pt x="372750" y="207789"/>
                  </a:cubicBezTo>
                  <a:cubicBezTo>
                    <a:pt x="368700" y="213057"/>
                    <a:pt x="364368" y="217948"/>
                    <a:pt x="359847" y="222275"/>
                  </a:cubicBezTo>
                  <a:cubicBezTo>
                    <a:pt x="359658" y="222463"/>
                    <a:pt x="359376" y="222651"/>
                    <a:pt x="359188" y="222934"/>
                  </a:cubicBezTo>
                  <a:cubicBezTo>
                    <a:pt x="354667" y="227261"/>
                    <a:pt x="349957" y="231211"/>
                    <a:pt x="345154" y="234598"/>
                  </a:cubicBezTo>
                  <a:lnTo>
                    <a:pt x="345625" y="236855"/>
                  </a:lnTo>
                  <a:cubicBezTo>
                    <a:pt x="346567" y="236385"/>
                    <a:pt x="347603" y="235915"/>
                    <a:pt x="348639" y="235538"/>
                  </a:cubicBezTo>
                  <a:cubicBezTo>
                    <a:pt x="350899" y="234786"/>
                    <a:pt x="353065" y="234033"/>
                    <a:pt x="355514" y="234033"/>
                  </a:cubicBezTo>
                  <a:cubicBezTo>
                    <a:pt x="359470" y="234033"/>
                    <a:pt x="363238" y="235162"/>
                    <a:pt x="366628" y="237326"/>
                  </a:cubicBezTo>
                  <a:cubicBezTo>
                    <a:pt x="366628" y="237326"/>
                    <a:pt x="380756" y="246450"/>
                    <a:pt x="385371" y="249648"/>
                  </a:cubicBezTo>
                  <a:cubicBezTo>
                    <a:pt x="401854" y="261030"/>
                    <a:pt x="399876" y="279373"/>
                    <a:pt x="399876" y="279373"/>
                  </a:cubicBezTo>
                  <a:cubicBezTo>
                    <a:pt x="410990" y="279655"/>
                    <a:pt x="421822" y="283041"/>
                    <a:pt x="430016" y="289814"/>
                  </a:cubicBezTo>
                  <a:cubicBezTo>
                    <a:pt x="445180" y="302324"/>
                    <a:pt x="447535" y="313330"/>
                    <a:pt x="448382" y="316058"/>
                  </a:cubicBezTo>
                  <a:lnTo>
                    <a:pt x="481630" y="424515"/>
                  </a:lnTo>
                  <a:cubicBezTo>
                    <a:pt x="482855" y="428371"/>
                    <a:pt x="483608" y="432416"/>
                    <a:pt x="483891" y="436461"/>
                  </a:cubicBezTo>
                  <a:cubicBezTo>
                    <a:pt x="484644" y="448595"/>
                    <a:pt x="481159" y="460730"/>
                    <a:pt x="473718" y="470700"/>
                  </a:cubicBezTo>
                  <a:cubicBezTo>
                    <a:pt x="466372" y="480671"/>
                    <a:pt x="455823" y="487538"/>
                    <a:pt x="443956" y="490360"/>
                  </a:cubicBezTo>
                  <a:cubicBezTo>
                    <a:pt x="440000" y="491301"/>
                    <a:pt x="435950" y="491771"/>
                    <a:pt x="431805" y="491771"/>
                  </a:cubicBezTo>
                  <a:lnTo>
                    <a:pt x="325375" y="491771"/>
                  </a:lnTo>
                  <a:lnTo>
                    <a:pt x="337430" y="415296"/>
                  </a:lnTo>
                  <a:cubicBezTo>
                    <a:pt x="338749" y="406454"/>
                    <a:pt x="337807" y="397424"/>
                    <a:pt x="334605" y="389052"/>
                  </a:cubicBezTo>
                  <a:lnTo>
                    <a:pt x="323962" y="360927"/>
                  </a:lnTo>
                  <a:lnTo>
                    <a:pt x="337430" y="347476"/>
                  </a:lnTo>
                  <a:lnTo>
                    <a:pt x="307196" y="317281"/>
                  </a:lnTo>
                  <a:lnTo>
                    <a:pt x="276868" y="347476"/>
                  </a:lnTo>
                  <a:lnTo>
                    <a:pt x="290337" y="360927"/>
                  </a:lnTo>
                  <a:lnTo>
                    <a:pt x="279694" y="389052"/>
                  </a:lnTo>
                  <a:cubicBezTo>
                    <a:pt x="276586" y="397424"/>
                    <a:pt x="275644" y="406454"/>
                    <a:pt x="276963" y="415296"/>
                  </a:cubicBezTo>
                  <a:lnTo>
                    <a:pt x="288736" y="491771"/>
                  </a:lnTo>
                  <a:lnTo>
                    <a:pt x="182493" y="491771"/>
                  </a:lnTo>
                  <a:cubicBezTo>
                    <a:pt x="178443" y="491771"/>
                    <a:pt x="174299" y="491301"/>
                    <a:pt x="170437" y="490360"/>
                  </a:cubicBezTo>
                  <a:cubicBezTo>
                    <a:pt x="158570" y="487538"/>
                    <a:pt x="148021" y="480671"/>
                    <a:pt x="140675" y="470700"/>
                  </a:cubicBezTo>
                  <a:cubicBezTo>
                    <a:pt x="130785" y="457343"/>
                    <a:pt x="127865" y="440223"/>
                    <a:pt x="132669" y="424515"/>
                  </a:cubicBezTo>
                  <a:lnTo>
                    <a:pt x="166011" y="316058"/>
                  </a:lnTo>
                  <a:cubicBezTo>
                    <a:pt x="166858" y="313330"/>
                    <a:pt x="170908" y="300631"/>
                    <a:pt x="184377" y="289814"/>
                  </a:cubicBezTo>
                  <a:cubicBezTo>
                    <a:pt x="192666" y="283229"/>
                    <a:pt x="203403" y="279655"/>
                    <a:pt x="214517" y="279373"/>
                  </a:cubicBezTo>
                  <a:lnTo>
                    <a:pt x="214517" y="279279"/>
                  </a:lnTo>
                  <a:cubicBezTo>
                    <a:pt x="214140" y="273447"/>
                    <a:pt x="211880" y="260654"/>
                    <a:pt x="229022" y="249648"/>
                  </a:cubicBezTo>
                  <a:cubicBezTo>
                    <a:pt x="233731" y="246638"/>
                    <a:pt x="247765" y="237326"/>
                    <a:pt x="247765" y="237326"/>
                  </a:cubicBezTo>
                  <a:cubicBezTo>
                    <a:pt x="251061" y="235162"/>
                    <a:pt x="254923" y="234033"/>
                    <a:pt x="258879" y="234033"/>
                  </a:cubicBezTo>
                  <a:cubicBezTo>
                    <a:pt x="261328" y="234033"/>
                    <a:pt x="263494" y="234786"/>
                    <a:pt x="265754" y="235538"/>
                  </a:cubicBezTo>
                  <a:cubicBezTo>
                    <a:pt x="266790" y="236009"/>
                    <a:pt x="267826" y="236385"/>
                    <a:pt x="268768" y="236855"/>
                  </a:cubicBezTo>
                  <a:lnTo>
                    <a:pt x="269239" y="234598"/>
                  </a:lnTo>
                  <a:cubicBezTo>
                    <a:pt x="264436" y="231211"/>
                    <a:pt x="259726" y="227261"/>
                    <a:pt x="255205" y="222934"/>
                  </a:cubicBezTo>
                  <a:cubicBezTo>
                    <a:pt x="254923" y="222651"/>
                    <a:pt x="254735" y="222463"/>
                    <a:pt x="254546" y="222275"/>
                  </a:cubicBezTo>
                  <a:cubicBezTo>
                    <a:pt x="250025" y="217948"/>
                    <a:pt x="245693" y="213057"/>
                    <a:pt x="241548" y="207789"/>
                  </a:cubicBezTo>
                  <a:cubicBezTo>
                    <a:pt x="241454" y="207601"/>
                    <a:pt x="241266" y="207413"/>
                    <a:pt x="241077" y="207225"/>
                  </a:cubicBezTo>
                  <a:cubicBezTo>
                    <a:pt x="236933" y="201769"/>
                    <a:pt x="233072" y="196031"/>
                    <a:pt x="229681" y="189823"/>
                  </a:cubicBezTo>
                  <a:cubicBezTo>
                    <a:pt x="229587" y="189729"/>
                    <a:pt x="229587" y="189635"/>
                    <a:pt x="229493" y="189635"/>
                  </a:cubicBezTo>
                  <a:cubicBezTo>
                    <a:pt x="226008" y="183332"/>
                    <a:pt x="222899" y="176654"/>
                    <a:pt x="220356" y="169787"/>
                  </a:cubicBezTo>
                  <a:cubicBezTo>
                    <a:pt x="214140" y="168658"/>
                    <a:pt x="208301" y="165084"/>
                    <a:pt x="203497" y="159910"/>
                  </a:cubicBezTo>
                  <a:cubicBezTo>
                    <a:pt x="203309" y="159722"/>
                    <a:pt x="203214" y="159628"/>
                    <a:pt x="203120" y="159534"/>
                  </a:cubicBezTo>
                  <a:cubicBezTo>
                    <a:pt x="200860" y="157088"/>
                    <a:pt x="198976" y="154172"/>
                    <a:pt x="197281" y="151068"/>
                  </a:cubicBezTo>
                  <a:cubicBezTo>
                    <a:pt x="196998" y="150504"/>
                    <a:pt x="196716" y="149939"/>
                    <a:pt x="196433" y="149281"/>
                  </a:cubicBezTo>
                  <a:cubicBezTo>
                    <a:pt x="194832" y="146083"/>
                    <a:pt x="193513" y="142602"/>
                    <a:pt x="192666" y="138840"/>
                  </a:cubicBezTo>
                  <a:cubicBezTo>
                    <a:pt x="188145" y="118428"/>
                    <a:pt x="197092" y="99050"/>
                    <a:pt x="212727" y="95476"/>
                  </a:cubicBezTo>
                  <a:lnTo>
                    <a:pt x="212727" y="85787"/>
                  </a:lnTo>
                  <a:cubicBezTo>
                    <a:pt x="212727" y="38378"/>
                    <a:pt x="251155" y="0"/>
                    <a:pt x="29862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grpSp>
          <p:nvGrpSpPr>
            <p:cNvPr id="68" name="ïsḻîde"/>
            <p:cNvGrpSpPr/>
            <p:nvPr/>
          </p:nvGrpSpPr>
          <p:grpSpPr>
            <a:xfrm>
              <a:off x="669924" y="4676797"/>
              <a:ext cx="3313754" cy="1563708"/>
              <a:chOff x="669924" y="4960116"/>
              <a:chExt cx="3313754" cy="1563708"/>
            </a:xfrm>
          </p:grpSpPr>
          <p:sp>
            <p:nvSpPr>
              <p:cNvPr id="81" name="ï$ļidè"/>
              <p:cNvSpPr txBox="1"/>
              <p:nvPr/>
            </p:nvSpPr>
            <p:spPr>
              <a:xfrm>
                <a:off x="903101" y="5472772"/>
                <a:ext cx="2847399" cy="105105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pPr marL="342900" indent="-342900" algn="ctr">
                  <a:lnSpc>
                    <a:spcPct val="120000"/>
                  </a:lnSpc>
                  <a:buClr>
                    <a:srgbClr val="FF0000"/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400" dirty="0"/>
                  <a:t>定位</a:t>
                </a:r>
                <a:r>
                  <a:rPr lang="en-US" altLang="zh-CN" sz="2400" dirty="0"/>
                  <a:t>OS</a:t>
                </a:r>
                <a:r>
                  <a:rPr lang="zh-CN" altLang="en-US" sz="2400" dirty="0"/>
                  <a:t>内核并将其加载到内存中。</a:t>
                </a:r>
              </a:p>
            </p:txBody>
          </p:sp>
          <p:sp>
            <p:nvSpPr>
              <p:cNvPr id="82" name="ïṧļíḋê"/>
              <p:cNvSpPr txBox="1"/>
              <p:nvPr/>
            </p:nvSpPr>
            <p:spPr>
              <a:xfrm>
                <a:off x="669924" y="4960116"/>
                <a:ext cx="3313754" cy="39338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Autofit/>
              </a:bodyPr>
              <a:lstStyle/>
              <a:p>
                <a:pPr algn="ctr"/>
                <a:r>
                  <a:rPr lang="zh-CN" altLang="en-US" sz="2400" b="1" dirty="0"/>
                  <a:t>引导程序：位于固件</a:t>
                </a:r>
              </a:p>
            </p:txBody>
          </p:sp>
        </p:grpSp>
        <p:sp>
          <p:nvSpPr>
            <p:cNvPr id="80" name="îşḷíḓè"/>
            <p:cNvSpPr txBox="1"/>
            <p:nvPr/>
          </p:nvSpPr>
          <p:spPr>
            <a:xfrm>
              <a:off x="4848799" y="4644027"/>
              <a:ext cx="2847400" cy="1051052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algn="ctr"/>
              <a:r>
                <a:rPr lang="zh-CN" altLang="en-US" sz="2400" b="1" dirty="0"/>
                <a:t>事件：硬件中断或软件中断引起</a:t>
              </a:r>
            </a:p>
          </p:txBody>
        </p:sp>
        <p:sp>
          <p:nvSpPr>
            <p:cNvPr id="78" name="íşľiḍé"/>
            <p:cNvSpPr txBox="1"/>
            <p:nvPr/>
          </p:nvSpPr>
          <p:spPr>
            <a:xfrm>
              <a:off x="9009316" y="4643436"/>
              <a:ext cx="2390876" cy="393389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Autofit/>
            </a:bodyPr>
            <a:lstStyle/>
            <a:p>
              <a:pPr algn="ctr"/>
              <a:r>
                <a:rPr lang="zh-CN" altLang="en-US" sz="2400" b="1" dirty="0"/>
                <a:t>程序：位于外存</a:t>
              </a:r>
            </a:p>
          </p:txBody>
        </p:sp>
        <p:sp>
          <p:nvSpPr>
            <p:cNvPr id="76" name="í$ḻiḍê"/>
            <p:cNvSpPr txBox="1"/>
            <p:nvPr/>
          </p:nvSpPr>
          <p:spPr>
            <a:xfrm>
              <a:off x="6485639" y="2239685"/>
              <a:ext cx="3414813" cy="393389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Autofit/>
            </a:bodyPr>
            <a:lstStyle/>
            <a:p>
              <a:pPr algn="ctr"/>
              <a:r>
                <a:rPr lang="zh-CN" altLang="en-US" sz="2400" b="1" dirty="0"/>
                <a:t>执行程序：位于内存</a:t>
              </a:r>
            </a:p>
          </p:txBody>
        </p:sp>
        <p:sp>
          <p:nvSpPr>
            <p:cNvPr id="74" name="îṥľíḑé"/>
            <p:cNvSpPr txBox="1"/>
            <p:nvPr/>
          </p:nvSpPr>
          <p:spPr>
            <a:xfrm>
              <a:off x="2788240" y="2239685"/>
              <a:ext cx="2390876" cy="393389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Autofit/>
            </a:bodyPr>
            <a:lstStyle/>
            <a:p>
              <a:pPr algn="ctr"/>
              <a:r>
                <a:rPr lang="zh-CN" altLang="en-US" sz="2400" b="1" dirty="0"/>
                <a:t>指令：</a:t>
              </a:r>
              <a:r>
                <a:rPr lang="en-US" altLang="zh-CN" sz="2400" b="1" dirty="0"/>
                <a:t>CPU</a:t>
              </a:r>
              <a:r>
                <a:rPr lang="zh-CN" altLang="en-US" sz="2400" b="1" dirty="0"/>
                <a:t>执行</a:t>
              </a:r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操作系统内核</a:t>
            </a:r>
          </a:p>
        </p:txBody>
      </p:sp>
      <p:sp>
        <p:nvSpPr>
          <p:cNvPr id="21" name="íšḻîḋè"/>
          <p:cNvSpPr/>
          <p:nvPr/>
        </p:nvSpPr>
        <p:spPr>
          <a:xfrm>
            <a:off x="2146089" y="2796424"/>
            <a:ext cx="8272919" cy="212432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中断处理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时钟管理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原语操作</a:t>
            </a:r>
            <a:endParaRPr lang="en-US" altLang="zh-CN" sz="2200" dirty="0"/>
          </a:p>
          <a:p>
            <a:pPr marL="800100" lvl="1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2200" dirty="0"/>
              <a:t>由若干条指令组成，用于完成一定功能。</a:t>
            </a:r>
          </a:p>
          <a:p>
            <a:pPr marL="800100" lvl="1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2200" dirty="0"/>
              <a:t>原子操作：要么不做，要么全做，不可分割。</a:t>
            </a:r>
          </a:p>
        </p:txBody>
      </p:sp>
      <p:sp>
        <p:nvSpPr>
          <p:cNvPr id="22" name="i$lîďê"/>
          <p:cNvSpPr/>
          <p:nvPr/>
        </p:nvSpPr>
        <p:spPr>
          <a:xfrm>
            <a:off x="2201724" y="2345299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支撑功能</a:t>
            </a:r>
          </a:p>
        </p:txBody>
      </p:sp>
      <p:sp>
        <p:nvSpPr>
          <p:cNvPr id="23" name="î$ļíḋè"/>
          <p:cNvSpPr/>
          <p:nvPr/>
        </p:nvSpPr>
        <p:spPr>
          <a:xfrm>
            <a:off x="2201724" y="5604433"/>
            <a:ext cx="5319538" cy="64182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进程管理、存储器管理、设备管理</a:t>
            </a:r>
          </a:p>
        </p:txBody>
      </p:sp>
      <p:sp>
        <p:nvSpPr>
          <p:cNvPr id="24" name="ïṧḷïḋè"/>
          <p:cNvSpPr/>
          <p:nvPr/>
        </p:nvSpPr>
        <p:spPr>
          <a:xfrm>
            <a:off x="2201726" y="5150694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资源管理功能</a:t>
            </a:r>
          </a:p>
        </p:txBody>
      </p:sp>
      <p:sp>
        <p:nvSpPr>
          <p:cNvPr id="26" name="íšḻíḑê"/>
          <p:cNvSpPr/>
          <p:nvPr/>
        </p:nvSpPr>
        <p:spPr>
          <a:xfrm>
            <a:off x="2201724" y="1433294"/>
            <a:ext cx="4894534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常驻内存，通常与硬件紧密相关</a:t>
            </a:r>
          </a:p>
        </p:txBody>
      </p:sp>
      <p:sp>
        <p:nvSpPr>
          <p:cNvPr id="27" name="îSļiḓè"/>
          <p:cNvSpPr/>
          <p:nvPr/>
        </p:nvSpPr>
        <p:spPr>
          <a:xfrm>
            <a:off x="1518222" y="1322235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8" name="íṥḻîḓe"/>
          <p:cNvSpPr/>
          <p:nvPr/>
        </p:nvSpPr>
        <p:spPr>
          <a:xfrm>
            <a:off x="1518222" y="5106729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9" name="îşļiḓè"/>
          <p:cNvSpPr/>
          <p:nvPr/>
        </p:nvSpPr>
        <p:spPr>
          <a:xfrm>
            <a:off x="1518222" y="2296289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30" name="îṡḷíďe"/>
          <p:cNvSpPr/>
          <p:nvPr/>
        </p:nvSpPr>
        <p:spPr>
          <a:xfrm>
            <a:off x="1708477" y="1518373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31" name="íSlíḋe"/>
          <p:cNvSpPr/>
          <p:nvPr/>
        </p:nvSpPr>
        <p:spPr>
          <a:xfrm>
            <a:off x="1708476" y="2518306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32" name="ïśḷïḓe"/>
          <p:cNvSpPr/>
          <p:nvPr/>
        </p:nvSpPr>
        <p:spPr>
          <a:xfrm>
            <a:off x="1737415" y="5296189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处理机的双重工作模式</a:t>
            </a:r>
          </a:p>
        </p:txBody>
      </p:sp>
      <p:grpSp>
        <p:nvGrpSpPr>
          <p:cNvPr id="14" name="2176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17700" y="1297164"/>
            <a:ext cx="11377235" cy="4148266"/>
            <a:chOff x="542846" y="1464590"/>
            <a:chExt cx="11377235" cy="4148266"/>
          </a:xfrm>
        </p:grpSpPr>
        <p:sp>
          <p:nvSpPr>
            <p:cNvPr id="15" name="ïsḷîḋê"/>
            <p:cNvSpPr/>
            <p:nvPr/>
          </p:nvSpPr>
          <p:spPr>
            <a:xfrm>
              <a:off x="673100" y="1929384"/>
              <a:ext cx="10845800" cy="2125980"/>
            </a:xfrm>
            <a:prstGeom prst="rightArrow">
              <a:avLst>
                <a:gd name="adj1" fmla="val 50000"/>
                <a:gd name="adj2" fmla="val 4225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6" name="ïṩḻíḑe"/>
            <p:cNvSpPr/>
            <p:nvPr/>
          </p:nvSpPr>
          <p:spPr>
            <a:xfrm rot="2700000">
              <a:off x="1148317" y="2189617"/>
              <a:ext cx="1605516" cy="1605516"/>
            </a:xfrm>
            <a:custGeom>
              <a:avLst/>
              <a:gdLst>
                <a:gd name="connsiteX0" fmla="*/ 135628 w 1605516"/>
                <a:gd name="connsiteY0" fmla="*/ 135628 h 1605516"/>
                <a:gd name="connsiteX1" fmla="*/ 463063 w 1605516"/>
                <a:gd name="connsiteY1" fmla="*/ 0 h 1605516"/>
                <a:gd name="connsiteX2" fmla="*/ 1142453 w 1605516"/>
                <a:gd name="connsiteY2" fmla="*/ 0 h 1605516"/>
                <a:gd name="connsiteX3" fmla="*/ 1605516 w 1605516"/>
                <a:gd name="connsiteY3" fmla="*/ 463063 h 1605516"/>
                <a:gd name="connsiteX4" fmla="*/ 1605516 w 1605516"/>
                <a:gd name="connsiteY4" fmla="*/ 1142453 h 1605516"/>
                <a:gd name="connsiteX5" fmla="*/ 1142453 w 1605516"/>
                <a:gd name="connsiteY5" fmla="*/ 1605516 h 1605516"/>
                <a:gd name="connsiteX6" fmla="*/ 463063 w 1605516"/>
                <a:gd name="connsiteY6" fmla="*/ 1605516 h 1605516"/>
                <a:gd name="connsiteX7" fmla="*/ 282818 w 1605516"/>
                <a:gd name="connsiteY7" fmla="*/ 1569126 h 1605516"/>
                <a:gd name="connsiteX8" fmla="*/ 247355 w 1605516"/>
                <a:gd name="connsiteY8" fmla="*/ 1549878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637 w 1605516"/>
                <a:gd name="connsiteY14" fmla="*/ 1358159 h 1605516"/>
                <a:gd name="connsiteX15" fmla="*/ 36390 w 1605516"/>
                <a:gd name="connsiteY15" fmla="*/ 1322698 h 1605516"/>
                <a:gd name="connsiteX16" fmla="*/ 0 w 1605516"/>
                <a:gd name="connsiteY16" fmla="*/ 1142453 h 1605516"/>
                <a:gd name="connsiteX17" fmla="*/ 0 w 1605516"/>
                <a:gd name="connsiteY17" fmla="*/ 463063 h 1605516"/>
                <a:gd name="connsiteX18" fmla="*/ 135628 w 1605516"/>
                <a:gd name="connsiteY18" fmla="*/ 135628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628" y="135628"/>
                  </a:moveTo>
                  <a:cubicBezTo>
                    <a:pt x="219426" y="51830"/>
                    <a:pt x="335192" y="0"/>
                    <a:pt x="463063" y="0"/>
                  </a:cubicBezTo>
                  <a:lnTo>
                    <a:pt x="1142453" y="0"/>
                  </a:lnTo>
                  <a:cubicBezTo>
                    <a:pt x="1398196" y="0"/>
                    <a:pt x="1605516" y="207320"/>
                    <a:pt x="1605516" y="463063"/>
                  </a:cubicBezTo>
                  <a:lnTo>
                    <a:pt x="1605516" y="1142453"/>
                  </a:lnTo>
                  <a:cubicBezTo>
                    <a:pt x="1605516" y="1398196"/>
                    <a:pt x="1398196" y="1605516"/>
                    <a:pt x="1142453" y="1605516"/>
                  </a:cubicBezTo>
                  <a:lnTo>
                    <a:pt x="463063" y="1605516"/>
                  </a:lnTo>
                  <a:cubicBezTo>
                    <a:pt x="399127" y="1605516"/>
                    <a:pt x="338218" y="1592559"/>
                    <a:pt x="282818" y="1569126"/>
                  </a:cubicBezTo>
                  <a:lnTo>
                    <a:pt x="247355" y="1549878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637" y="1358159"/>
                  </a:lnTo>
                  <a:lnTo>
                    <a:pt x="36390" y="1322698"/>
                  </a:lnTo>
                  <a:cubicBezTo>
                    <a:pt x="12957" y="1267298"/>
                    <a:pt x="0" y="1206389"/>
                    <a:pt x="0" y="1142453"/>
                  </a:cubicBezTo>
                  <a:lnTo>
                    <a:pt x="0" y="463063"/>
                  </a:lnTo>
                  <a:cubicBezTo>
                    <a:pt x="0" y="335192"/>
                    <a:pt x="51830" y="219426"/>
                    <a:pt x="135628" y="135628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7" name="is1íḑe"/>
            <p:cNvSpPr/>
            <p:nvPr/>
          </p:nvSpPr>
          <p:spPr>
            <a:xfrm rot="2700000">
              <a:off x="3911600" y="2189617"/>
              <a:ext cx="1605516" cy="1605516"/>
            </a:xfrm>
            <a:custGeom>
              <a:avLst/>
              <a:gdLst>
                <a:gd name="connsiteX0" fmla="*/ 135459 w 1605516"/>
                <a:gd name="connsiteY0" fmla="*/ 135459 h 1605516"/>
                <a:gd name="connsiteX1" fmla="*/ 462485 w 1605516"/>
                <a:gd name="connsiteY1" fmla="*/ 0 h 1605516"/>
                <a:gd name="connsiteX2" fmla="*/ 1143031 w 1605516"/>
                <a:gd name="connsiteY2" fmla="*/ 0 h 1605516"/>
                <a:gd name="connsiteX3" fmla="*/ 1605516 w 1605516"/>
                <a:gd name="connsiteY3" fmla="*/ 462485 h 1605516"/>
                <a:gd name="connsiteX4" fmla="*/ 1605516 w 1605516"/>
                <a:gd name="connsiteY4" fmla="*/ 1143031 h 1605516"/>
                <a:gd name="connsiteX5" fmla="*/ 1143031 w 1605516"/>
                <a:gd name="connsiteY5" fmla="*/ 1605516 h 1605516"/>
                <a:gd name="connsiteX6" fmla="*/ 462485 w 1605516"/>
                <a:gd name="connsiteY6" fmla="*/ 1605516 h 1605516"/>
                <a:gd name="connsiteX7" fmla="*/ 282465 w 1605516"/>
                <a:gd name="connsiteY7" fmla="*/ 1569172 h 1605516"/>
                <a:gd name="connsiteX8" fmla="*/ 247202 w 1605516"/>
                <a:gd name="connsiteY8" fmla="*/ 1550031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84 w 1605516"/>
                <a:gd name="connsiteY14" fmla="*/ 1358313 h 1605516"/>
                <a:gd name="connsiteX15" fmla="*/ 36345 w 1605516"/>
                <a:gd name="connsiteY15" fmla="*/ 1323051 h 1605516"/>
                <a:gd name="connsiteX16" fmla="*/ 0 w 1605516"/>
                <a:gd name="connsiteY16" fmla="*/ 1143031 h 1605516"/>
                <a:gd name="connsiteX17" fmla="*/ 0 w 1605516"/>
                <a:gd name="connsiteY17" fmla="*/ 462485 h 1605516"/>
                <a:gd name="connsiteX18" fmla="*/ 135459 w 1605516"/>
                <a:gd name="connsiteY18" fmla="*/ 135459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59" y="135459"/>
                  </a:moveTo>
                  <a:cubicBezTo>
                    <a:pt x="219152" y="51765"/>
                    <a:pt x="334773" y="0"/>
                    <a:pt x="462485" y="0"/>
                  </a:cubicBezTo>
                  <a:lnTo>
                    <a:pt x="1143031" y="0"/>
                  </a:lnTo>
                  <a:cubicBezTo>
                    <a:pt x="1398454" y="0"/>
                    <a:pt x="1605516" y="207062"/>
                    <a:pt x="1605516" y="462485"/>
                  </a:cubicBezTo>
                  <a:lnTo>
                    <a:pt x="1605516" y="1143031"/>
                  </a:lnTo>
                  <a:cubicBezTo>
                    <a:pt x="1605516" y="1398454"/>
                    <a:pt x="1398454" y="1605516"/>
                    <a:pt x="1143031" y="1605516"/>
                  </a:cubicBezTo>
                  <a:lnTo>
                    <a:pt x="462485" y="1605516"/>
                  </a:lnTo>
                  <a:cubicBezTo>
                    <a:pt x="398629" y="1605516"/>
                    <a:pt x="337796" y="1592575"/>
                    <a:pt x="282465" y="1569172"/>
                  </a:cubicBezTo>
                  <a:lnTo>
                    <a:pt x="247202" y="1550031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84" y="1358313"/>
                  </a:lnTo>
                  <a:lnTo>
                    <a:pt x="36345" y="1323051"/>
                  </a:lnTo>
                  <a:cubicBezTo>
                    <a:pt x="12941" y="1267720"/>
                    <a:pt x="0" y="1206887"/>
                    <a:pt x="0" y="1143031"/>
                  </a:cubicBezTo>
                  <a:lnTo>
                    <a:pt x="0" y="462485"/>
                  </a:lnTo>
                  <a:cubicBezTo>
                    <a:pt x="0" y="334773"/>
                    <a:pt x="51765" y="219152"/>
                    <a:pt x="135459" y="1354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8" name="íṡ1ïḋé"/>
            <p:cNvSpPr/>
            <p:nvPr/>
          </p:nvSpPr>
          <p:spPr>
            <a:xfrm rot="2700000">
              <a:off x="6674883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7 w 1605516"/>
                <a:gd name="connsiteY7" fmla="*/ 1569179 h 1605516"/>
                <a:gd name="connsiteX8" fmla="*/ 247177 w 1605516"/>
                <a:gd name="connsiteY8" fmla="*/ 1550057 h 1605516"/>
                <a:gd name="connsiteX9" fmla="*/ 706899 w 1605516"/>
                <a:gd name="connsiteY9" fmla="*/ 1090335 h 1605516"/>
                <a:gd name="connsiteX10" fmla="*/ 802758 w 1605516"/>
                <a:gd name="connsiteY10" fmla="*/ 1186194 h 1605516"/>
                <a:gd name="connsiteX11" fmla="*/ 802758 w 1605516"/>
                <a:gd name="connsiteY11" fmla="*/ 802758 h 1605516"/>
                <a:gd name="connsiteX12" fmla="*/ 419322 w 1605516"/>
                <a:gd name="connsiteY12" fmla="*/ 802758 h 1605516"/>
                <a:gd name="connsiteX13" fmla="*/ 515181 w 1605516"/>
                <a:gd name="connsiteY13" fmla="*/ 898617 h 1605516"/>
                <a:gd name="connsiteX14" fmla="*/ 55459 w 1605516"/>
                <a:gd name="connsiteY14" fmla="*/ 1358339 h 1605516"/>
                <a:gd name="connsiteX15" fmla="*/ 36337 w 1605516"/>
                <a:gd name="connsiteY15" fmla="*/ 1323109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6" y="1605516"/>
                    <a:pt x="337726" y="1592577"/>
                    <a:pt x="282407" y="1569179"/>
                  </a:cubicBezTo>
                  <a:lnTo>
                    <a:pt x="247177" y="1550057"/>
                  </a:lnTo>
                  <a:lnTo>
                    <a:pt x="706899" y="1090335"/>
                  </a:lnTo>
                  <a:lnTo>
                    <a:pt x="802758" y="1186194"/>
                  </a:lnTo>
                  <a:lnTo>
                    <a:pt x="802758" y="802758"/>
                  </a:lnTo>
                  <a:lnTo>
                    <a:pt x="419322" y="802758"/>
                  </a:lnTo>
                  <a:lnTo>
                    <a:pt x="515181" y="898617"/>
                  </a:lnTo>
                  <a:lnTo>
                    <a:pt x="55459" y="1358339"/>
                  </a:lnTo>
                  <a:lnTo>
                    <a:pt x="36337" y="1323109"/>
                  </a:lnTo>
                  <a:cubicBezTo>
                    <a:pt x="12939" y="1267790"/>
                    <a:pt x="0" y="1206970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9" name="îṡlíḓè"/>
            <p:cNvSpPr/>
            <p:nvPr/>
          </p:nvSpPr>
          <p:spPr>
            <a:xfrm rot="2700000">
              <a:off x="9438167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6 w 1605516"/>
                <a:gd name="connsiteY7" fmla="*/ 1569179 h 1605516"/>
                <a:gd name="connsiteX8" fmla="*/ 247176 w 1605516"/>
                <a:gd name="connsiteY8" fmla="*/ 1550057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59 w 1605516"/>
                <a:gd name="connsiteY14" fmla="*/ 1358338 h 1605516"/>
                <a:gd name="connsiteX15" fmla="*/ 36337 w 1605516"/>
                <a:gd name="connsiteY15" fmla="*/ 1323110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7" y="1605516"/>
                    <a:pt x="337726" y="1592577"/>
                    <a:pt x="282406" y="1569179"/>
                  </a:cubicBezTo>
                  <a:lnTo>
                    <a:pt x="247176" y="1550057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59" y="1358338"/>
                  </a:lnTo>
                  <a:lnTo>
                    <a:pt x="36337" y="1323110"/>
                  </a:lnTo>
                  <a:cubicBezTo>
                    <a:pt x="12939" y="1267790"/>
                    <a:pt x="0" y="1206969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25" name="ï$1iḍe"/>
            <p:cNvSpPr txBox="1"/>
            <p:nvPr/>
          </p:nvSpPr>
          <p:spPr>
            <a:xfrm>
              <a:off x="542846" y="1491721"/>
              <a:ext cx="2687137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200" b="1" dirty="0"/>
                <a:t>特权指令</a:t>
              </a:r>
            </a:p>
          </p:txBody>
        </p:sp>
        <p:sp>
          <p:nvSpPr>
            <p:cNvPr id="33" name="isľîdê"/>
            <p:cNvSpPr txBox="1"/>
            <p:nvPr/>
          </p:nvSpPr>
          <p:spPr>
            <a:xfrm>
              <a:off x="837271" y="4127645"/>
              <a:ext cx="2287926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000" dirty="0"/>
                <a:t>如果误用，有可能引起系统崩溃的指令。</a:t>
              </a:r>
            </a:p>
          </p:txBody>
        </p:sp>
        <p:sp>
          <p:nvSpPr>
            <p:cNvPr id="34" name="íṩ1ïḑe"/>
            <p:cNvSpPr txBox="1"/>
            <p:nvPr/>
          </p:nvSpPr>
          <p:spPr>
            <a:xfrm>
              <a:off x="3077666" y="1464590"/>
              <a:ext cx="3316591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>
                <a:lnSpc>
                  <a:spcPct val="110000"/>
                </a:lnSpc>
              </a:pPr>
              <a:r>
                <a:rPr lang="zh-CN" altLang="en-US" sz="2200" b="1" dirty="0">
                  <a:solidFill>
                    <a:srgbClr val="FF0000"/>
                  </a:solidFill>
                </a:rPr>
                <a:t>内核态</a:t>
              </a:r>
              <a:r>
                <a:rPr lang="zh-CN" altLang="en-US" sz="2200" b="1" dirty="0"/>
                <a:t>（管态、系统态）</a:t>
              </a:r>
            </a:p>
          </p:txBody>
        </p:sp>
        <p:sp>
          <p:nvSpPr>
            <p:cNvPr id="35" name="ïsḻiďê"/>
            <p:cNvSpPr txBox="1"/>
            <p:nvPr/>
          </p:nvSpPr>
          <p:spPr>
            <a:xfrm>
              <a:off x="6366706" y="1478156"/>
              <a:ext cx="235628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r"/>
              <a:r>
                <a:rPr lang="zh-CN" altLang="en-US" sz="2200" b="1" dirty="0">
                  <a:solidFill>
                    <a:srgbClr val="FF0000"/>
                  </a:solidFill>
                </a:rPr>
                <a:t>用户态</a:t>
              </a:r>
              <a:r>
                <a:rPr lang="zh-CN" altLang="en-US" sz="2200" b="1" dirty="0"/>
                <a:t>（目态）</a:t>
              </a:r>
            </a:p>
          </p:txBody>
        </p:sp>
        <p:sp>
          <p:nvSpPr>
            <p:cNvPr id="36" name="isḷiḋé"/>
            <p:cNvSpPr txBox="1"/>
            <p:nvPr/>
          </p:nvSpPr>
          <p:spPr>
            <a:xfrm>
              <a:off x="8833059" y="1491721"/>
              <a:ext cx="3087022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200" b="1" dirty="0"/>
                <a:t>由硬件提供模式位</a:t>
              </a:r>
            </a:p>
          </p:txBody>
        </p:sp>
        <p:sp>
          <p:nvSpPr>
            <p:cNvPr id="37" name="îṣḻidé"/>
            <p:cNvSpPr txBox="1"/>
            <p:nvPr/>
          </p:nvSpPr>
          <p:spPr>
            <a:xfrm>
              <a:off x="19606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38" name="ïŝ1ïḋè"/>
            <p:cNvSpPr txBox="1"/>
            <p:nvPr/>
          </p:nvSpPr>
          <p:spPr>
            <a:xfrm>
              <a:off x="4741597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39" name="í$lîdé"/>
            <p:cNvSpPr txBox="1"/>
            <p:nvPr/>
          </p:nvSpPr>
          <p:spPr>
            <a:xfrm>
              <a:off x="7522530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40" name="išḻïďè"/>
            <p:cNvSpPr txBox="1"/>
            <p:nvPr/>
          </p:nvSpPr>
          <p:spPr>
            <a:xfrm>
              <a:off x="103034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41" name="isľîdê"/>
            <p:cNvSpPr txBox="1"/>
            <p:nvPr/>
          </p:nvSpPr>
          <p:spPr>
            <a:xfrm>
              <a:off x="3540236" y="4127645"/>
              <a:ext cx="2276119" cy="85874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000" dirty="0"/>
                <a:t>执行包括特权指令在内的一切指令。</a:t>
              </a:r>
            </a:p>
          </p:txBody>
        </p:sp>
        <p:sp>
          <p:nvSpPr>
            <p:cNvPr id="42" name="isľîdê"/>
            <p:cNvSpPr txBox="1"/>
            <p:nvPr/>
          </p:nvSpPr>
          <p:spPr>
            <a:xfrm>
              <a:off x="6469394" y="4151140"/>
              <a:ext cx="2018637" cy="53145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000" dirty="0"/>
                <a:t>不能执行特权指令。</a:t>
              </a:r>
            </a:p>
          </p:txBody>
        </p:sp>
        <p:sp>
          <p:nvSpPr>
            <p:cNvPr id="43" name="isľîdê"/>
            <p:cNvSpPr txBox="1"/>
            <p:nvPr/>
          </p:nvSpPr>
          <p:spPr>
            <a:xfrm>
              <a:off x="8722986" y="4151140"/>
              <a:ext cx="3076602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000" dirty="0"/>
                <a:t>提供了区分系统正在运行用户代码或内核代码的能力。</a:t>
              </a:r>
            </a:p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000" dirty="0"/>
                <a:t>系统调用切换运行模式到内核态，并将调用结果返回给用户。</a:t>
              </a:r>
            </a:p>
          </p:txBody>
        </p:sp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特权指令和非特权指令</a:t>
            </a:r>
          </a:p>
        </p:txBody>
      </p:sp>
      <p:sp>
        <p:nvSpPr>
          <p:cNvPr id="9" name="ïşľîďè"/>
          <p:cNvSpPr/>
          <p:nvPr/>
        </p:nvSpPr>
        <p:spPr>
          <a:xfrm>
            <a:off x="1588" y="1143000"/>
            <a:ext cx="4669654" cy="5003800"/>
          </a:xfrm>
          <a:prstGeom prst="rect">
            <a:avLst/>
          </a:prstGeom>
          <a:blipFill>
            <a:blip r:embed="rId2"/>
            <a:stretch>
              <a:fillRect l="-30450" r="-30284"/>
            </a:stretch>
          </a:blip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10" name="îŝļiḋe"/>
          <p:cNvSpPr/>
          <p:nvPr/>
        </p:nvSpPr>
        <p:spPr>
          <a:xfrm>
            <a:off x="4014295" y="1143000"/>
            <a:ext cx="656948" cy="5003800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11" name="í$1iďè"/>
          <p:cNvGrpSpPr/>
          <p:nvPr/>
        </p:nvGrpSpPr>
        <p:grpSpPr>
          <a:xfrm>
            <a:off x="4183062" y="1607317"/>
            <a:ext cx="7381905" cy="1702554"/>
            <a:chOff x="4136995" y="1337039"/>
            <a:chExt cx="7381905" cy="1702554"/>
          </a:xfrm>
        </p:grpSpPr>
        <p:sp>
          <p:nvSpPr>
            <p:cNvPr id="37" name="îslîďê"/>
            <p:cNvSpPr/>
            <p:nvPr/>
          </p:nvSpPr>
          <p:spPr>
            <a:xfrm>
              <a:off x="4136995" y="1712614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39" name="ïSḻiḍé"/>
            <p:cNvSpPr txBox="1"/>
            <p:nvPr/>
          </p:nvSpPr>
          <p:spPr>
            <a:xfrm>
              <a:off x="4882719" y="1337039"/>
              <a:ext cx="6636181" cy="170255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just">
                <a:lnSpc>
                  <a:spcPct val="130000"/>
                </a:lnSpc>
              </a:pPr>
              <a:r>
                <a:rPr lang="zh-CN" altLang="en-US" sz="2400" b="1" dirty="0">
                  <a:solidFill>
                    <a:srgbClr val="FF0000"/>
                  </a:solidFill>
                  <a:latin typeface="+mj-ea"/>
                  <a:ea typeface="+mj-ea"/>
                </a:rPr>
                <a:t>特权指令：在内核态下运行的指令</a:t>
              </a:r>
              <a:endParaRPr lang="en-US" altLang="zh-CN" sz="2400" b="1" dirty="0">
                <a:solidFill>
                  <a:srgbClr val="FF0000"/>
                </a:solidFill>
                <a:latin typeface="+mj-ea"/>
                <a:ea typeface="+mj-ea"/>
              </a:endParaRPr>
            </a:p>
            <a:p>
              <a:pPr marL="342900" indent="-342900" algn="just">
                <a:lnSpc>
                  <a:spcPct val="130000"/>
                </a:lnSpc>
                <a:buFont typeface="Wingdings" panose="05000000000000000000" pitchFamily="2" charset="2"/>
                <a:buChar char="Ø"/>
              </a:pPr>
              <a:r>
                <a:rPr lang="zh-CN" altLang="en-US" sz="2400" dirty="0">
                  <a:latin typeface="+mj-ea"/>
                  <a:ea typeface="+mj-ea"/>
                </a:rPr>
                <a:t>不仅能访问用户空间，还能访问系统空间。</a:t>
              </a:r>
            </a:p>
            <a:p>
              <a:pPr marL="342900" indent="-342900" algn="just">
                <a:lnSpc>
                  <a:spcPct val="130000"/>
                </a:lnSpc>
                <a:buFont typeface="Wingdings" panose="05000000000000000000" pitchFamily="2" charset="2"/>
                <a:buChar char="Ø"/>
              </a:pPr>
              <a:r>
                <a:rPr lang="zh-CN" altLang="en-US" sz="2400" dirty="0">
                  <a:latin typeface="+mj-ea"/>
                  <a:ea typeface="+mj-ea"/>
                </a:rPr>
                <a:t>如启动外部设备、设置系统时钟、管中断、切换执行状态、</a:t>
              </a:r>
              <a:r>
                <a:rPr lang="en-US" altLang="zh-CN" sz="2400" dirty="0">
                  <a:latin typeface="+mj-ea"/>
                  <a:ea typeface="+mj-ea"/>
                </a:rPr>
                <a:t>I/O</a:t>
              </a:r>
              <a:r>
                <a:rPr lang="zh-CN" altLang="en-US" sz="2400" dirty="0">
                  <a:latin typeface="+mj-ea"/>
                  <a:ea typeface="+mj-ea"/>
                </a:rPr>
                <a:t>指令。</a:t>
              </a:r>
            </a:p>
          </p:txBody>
        </p:sp>
      </p:grpSp>
      <p:grpSp>
        <p:nvGrpSpPr>
          <p:cNvPr id="12" name="išḷîḓé"/>
          <p:cNvGrpSpPr/>
          <p:nvPr/>
        </p:nvGrpSpPr>
        <p:grpSpPr>
          <a:xfrm>
            <a:off x="4183062" y="3800144"/>
            <a:ext cx="7722859" cy="1763616"/>
            <a:chOff x="4136995" y="3233565"/>
            <a:chExt cx="7722859" cy="1763616"/>
          </a:xfrm>
        </p:grpSpPr>
        <p:sp>
          <p:nvSpPr>
            <p:cNvPr id="33" name="íśľïḋé"/>
            <p:cNvSpPr/>
            <p:nvPr/>
          </p:nvSpPr>
          <p:spPr>
            <a:xfrm>
              <a:off x="4136995" y="3450237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35" name="îŝľîḓè"/>
            <p:cNvSpPr txBox="1"/>
            <p:nvPr/>
          </p:nvSpPr>
          <p:spPr>
            <a:xfrm>
              <a:off x="4882718" y="3233565"/>
              <a:ext cx="6977136" cy="176361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zh-CN" altLang="en-US" sz="2400" b="1" dirty="0"/>
                <a:t>非特权指令：在用户态下运行的指令</a:t>
              </a:r>
              <a:endParaRPr lang="en-US" altLang="zh-CN" sz="2400" b="1" dirty="0"/>
            </a:p>
            <a:p>
              <a:pPr marL="342900" indent="-342900">
                <a:lnSpc>
                  <a:spcPct val="130000"/>
                </a:lnSpc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应用程序所使用的都是非特权指令。</a:t>
              </a:r>
            </a:p>
            <a:p>
              <a:pPr marL="342900" indent="-342900">
                <a:lnSpc>
                  <a:spcPct val="130000"/>
                </a:lnSpc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防止应用程序的运行异常对系统造成破坏。</a:t>
              </a:r>
            </a:p>
            <a:p>
              <a:pPr marL="342900" indent="-342900">
                <a:lnSpc>
                  <a:spcPct val="130000"/>
                </a:lnSpc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仅能访问用户空间。</a:t>
              </a:r>
            </a:p>
          </p:txBody>
        </p:sp>
      </p:grp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用户态到内核态的切换</a:t>
            </a:r>
          </a:p>
        </p:txBody>
      </p:sp>
      <p:grpSp>
        <p:nvGrpSpPr>
          <p:cNvPr id="4" name="iṡļiḓe"/>
          <p:cNvGrpSpPr/>
          <p:nvPr/>
        </p:nvGrpSpPr>
        <p:grpSpPr>
          <a:xfrm>
            <a:off x="905099" y="1398189"/>
            <a:ext cx="6345707" cy="1409465"/>
            <a:chOff x="660400" y="1835355"/>
            <a:chExt cx="6345707" cy="1409465"/>
          </a:xfrm>
        </p:grpSpPr>
        <p:grpSp>
          <p:nvGrpSpPr>
            <p:cNvPr id="5" name="iSḻíḓè"/>
            <p:cNvGrpSpPr/>
            <p:nvPr/>
          </p:nvGrpSpPr>
          <p:grpSpPr>
            <a:xfrm>
              <a:off x="1296567" y="1835355"/>
              <a:ext cx="5709540" cy="1409465"/>
              <a:chOff x="1296567" y="1835355"/>
              <a:chExt cx="7201160" cy="1409465"/>
            </a:xfrm>
          </p:grpSpPr>
          <p:sp>
            <p:nvSpPr>
              <p:cNvPr id="9" name="îṧľîḋé"/>
              <p:cNvSpPr txBox="1"/>
              <p:nvPr/>
            </p:nvSpPr>
            <p:spPr>
              <a:xfrm>
                <a:off x="1296567" y="1835355"/>
                <a:ext cx="7201160" cy="84273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2000"/>
                  </a:lnSpc>
                </a:pPr>
                <a:r>
                  <a:rPr lang="zh-CN" altLang="en-US" sz="2400" dirty="0"/>
                  <a:t>状态位</a:t>
                </a:r>
                <a:r>
                  <a:rPr lang="en-US" altLang="zh-CN" sz="2400" dirty="0"/>
                  <a:t>(Mode bit) </a:t>
                </a:r>
                <a:r>
                  <a:rPr lang="zh-CN" altLang="en-US" sz="2400" dirty="0"/>
                  <a:t>指示正确的状态：</a:t>
                </a:r>
                <a:endParaRPr lang="en-US" altLang="zh-CN" sz="2400" dirty="0"/>
              </a:p>
              <a:p>
                <a:pPr marL="342900" indent="-342900">
                  <a:lnSpc>
                    <a:spcPct val="132000"/>
                  </a:lnSpc>
                  <a:buClr>
                    <a:srgbClr val="FF0000"/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400" dirty="0">
                    <a:solidFill>
                      <a:srgbClr val="FF0000"/>
                    </a:solidFill>
                  </a:rPr>
                  <a:t>内核态（</a:t>
                </a:r>
                <a:r>
                  <a:rPr lang="en-US" altLang="zh-CN" sz="2400" dirty="0">
                    <a:solidFill>
                      <a:srgbClr val="FF0000"/>
                    </a:solidFill>
                  </a:rPr>
                  <a:t>0</a:t>
                </a:r>
                <a:r>
                  <a:rPr lang="zh-CN" altLang="en-US" sz="2400" dirty="0">
                    <a:solidFill>
                      <a:srgbClr val="FF0000"/>
                    </a:solidFill>
                  </a:rPr>
                  <a:t>） ，用户态（</a:t>
                </a:r>
                <a:r>
                  <a:rPr lang="en-US" altLang="zh-CN" sz="2400" dirty="0">
                    <a:solidFill>
                      <a:srgbClr val="FF0000"/>
                    </a:solidFill>
                  </a:rPr>
                  <a:t>1</a:t>
                </a:r>
                <a:r>
                  <a:rPr lang="zh-CN" altLang="en-US" sz="2400" dirty="0">
                    <a:solidFill>
                      <a:srgbClr val="FF0000"/>
                    </a:solidFill>
                  </a:rPr>
                  <a:t>）</a:t>
                </a:r>
              </a:p>
            </p:txBody>
          </p:sp>
          <p:sp>
            <p:nvSpPr>
              <p:cNvPr id="11" name="îṧľîḋé"/>
              <p:cNvSpPr txBox="1"/>
              <p:nvPr/>
            </p:nvSpPr>
            <p:spPr>
              <a:xfrm>
                <a:off x="1296567" y="2855397"/>
                <a:ext cx="7201160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2000"/>
                  </a:lnSpc>
                </a:pPr>
                <a:r>
                  <a:rPr lang="zh-CN" altLang="en-US" sz="2400" dirty="0"/>
                  <a:t>当中断或错误出现，硬件切换至内核态</a:t>
                </a:r>
              </a:p>
            </p:txBody>
          </p:sp>
        </p:grpSp>
        <p:grpSp>
          <p:nvGrpSpPr>
            <p:cNvPr id="6" name="ïS1íḋé"/>
            <p:cNvGrpSpPr/>
            <p:nvPr/>
          </p:nvGrpSpPr>
          <p:grpSpPr>
            <a:xfrm>
              <a:off x="660400" y="1838665"/>
              <a:ext cx="497734" cy="497734"/>
              <a:chOff x="660400" y="1838665"/>
              <a:chExt cx="497734" cy="497734"/>
            </a:xfrm>
          </p:grpSpPr>
          <p:sp>
            <p:nvSpPr>
              <p:cNvPr id="7" name="islîḋe"/>
              <p:cNvSpPr/>
              <p:nvPr/>
            </p:nvSpPr>
            <p:spPr>
              <a:xfrm>
                <a:off x="660400" y="1838665"/>
                <a:ext cx="497734" cy="497734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" name="îŝlîďe"/>
              <p:cNvSpPr/>
              <p:nvPr/>
            </p:nvSpPr>
            <p:spPr>
              <a:xfrm>
                <a:off x="779848" y="1970100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2" name="Group 5"/>
          <p:cNvGrpSpPr/>
          <p:nvPr/>
        </p:nvGrpSpPr>
        <p:grpSpPr bwMode="auto">
          <a:xfrm>
            <a:off x="7567456" y="1108850"/>
            <a:ext cx="3963988" cy="1685925"/>
            <a:chOff x="1152" y="1816"/>
            <a:chExt cx="2857" cy="1255"/>
          </a:xfrm>
        </p:grpSpPr>
        <p:sp>
          <p:nvSpPr>
            <p:cNvPr id="13" name="Oval 6"/>
            <p:cNvSpPr>
              <a:spLocks noChangeArrowheads="1"/>
            </p:cNvSpPr>
            <p:nvPr/>
          </p:nvSpPr>
          <p:spPr bwMode="auto">
            <a:xfrm>
              <a:off x="1152" y="2256"/>
              <a:ext cx="873" cy="720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</a:ln>
          </p:spPr>
          <p:txBody>
            <a:bodyPr wrap="none" anchor="ctr"/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zh-CN" altLang="en-US" sz="1800" b="1">
                  <a:latin typeface="Arial" panose="020B0604020202020204" pitchFamily="34" charset="0"/>
                </a:rPr>
                <a:t>内核态</a:t>
              </a:r>
              <a:endParaRPr lang="en-US" altLang="zh-CN" sz="1800" b="1">
                <a:latin typeface="Arial" panose="020B0604020202020204" pitchFamily="34" charset="0"/>
              </a:endParaRPr>
            </a:p>
          </p:txBody>
        </p:sp>
        <p:sp>
          <p:nvSpPr>
            <p:cNvPr id="14" name="Oval 7"/>
            <p:cNvSpPr>
              <a:spLocks noChangeArrowheads="1"/>
            </p:cNvSpPr>
            <p:nvPr/>
          </p:nvSpPr>
          <p:spPr bwMode="auto">
            <a:xfrm>
              <a:off x="3163" y="2256"/>
              <a:ext cx="846" cy="720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</a:ln>
          </p:spPr>
          <p:txBody>
            <a:bodyPr wrap="none" anchor="ctr"/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zh-CN" altLang="en-US" sz="1800" b="1">
                  <a:latin typeface="Arial" panose="020B0604020202020204" pitchFamily="34" charset="0"/>
                </a:rPr>
                <a:t>用户态</a:t>
              </a:r>
              <a:endParaRPr lang="en-US" altLang="zh-CN" sz="1800" b="1">
                <a:latin typeface="Arial" panose="020B0604020202020204" pitchFamily="34" charset="0"/>
              </a:endParaRPr>
            </a:p>
          </p:txBody>
        </p:sp>
        <p:cxnSp>
          <p:nvCxnSpPr>
            <p:cNvPr id="15" name="AutoShape 8"/>
            <p:cNvCxnSpPr>
              <a:cxnSpLocks noChangeShapeType="1"/>
              <a:stCxn id="14" idx="0"/>
              <a:endCxn id="13" idx="0"/>
            </p:cNvCxnSpPr>
            <p:nvPr/>
          </p:nvCxnSpPr>
          <p:spPr bwMode="auto">
            <a:xfrm rot="16200000" flipV="1">
              <a:off x="2587" y="1257"/>
              <a:ext cx="9" cy="1998"/>
            </a:xfrm>
            <a:prstGeom prst="curvedConnector3">
              <a:avLst>
                <a:gd name="adj1" fmla="val 1800000"/>
              </a:avLst>
            </a:prstGeom>
            <a:noFill/>
            <a:ln w="9525">
              <a:solidFill>
                <a:schemeClr val="tx1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AutoShape 9"/>
            <p:cNvCxnSpPr>
              <a:cxnSpLocks noChangeShapeType="1"/>
              <a:stCxn id="13" idx="4"/>
              <a:endCxn id="14" idx="4"/>
            </p:cNvCxnSpPr>
            <p:nvPr/>
          </p:nvCxnSpPr>
          <p:spPr bwMode="auto">
            <a:xfrm rot="16200000" flipH="1">
              <a:off x="2587" y="1977"/>
              <a:ext cx="9" cy="1998"/>
            </a:xfrm>
            <a:prstGeom prst="curvedConnector3">
              <a:avLst>
                <a:gd name="adj1" fmla="val 1800000"/>
              </a:avLst>
            </a:prstGeom>
            <a:noFill/>
            <a:ln w="9525">
              <a:solidFill>
                <a:schemeClr val="tx1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8" name="Text Box 10"/>
            <p:cNvSpPr txBox="1">
              <a:spLocks noChangeArrowheads="1"/>
            </p:cNvSpPr>
            <p:nvPr/>
          </p:nvSpPr>
          <p:spPr bwMode="auto">
            <a:xfrm>
              <a:off x="2360" y="1816"/>
              <a:ext cx="468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Tx/>
                <a:buNone/>
              </a:pPr>
              <a:r>
                <a:rPr lang="zh-CN" altLang="en-US" sz="1800" b="1">
                  <a:latin typeface="Arial" panose="020B0604020202020204" pitchFamily="34" charset="0"/>
                </a:rPr>
                <a:t>中断</a:t>
              </a:r>
            </a:p>
          </p:txBody>
        </p:sp>
        <p:sp>
          <p:nvSpPr>
            <p:cNvPr id="19" name="Text Box 11"/>
            <p:cNvSpPr txBox="1">
              <a:spLocks noChangeArrowheads="1"/>
            </p:cNvSpPr>
            <p:nvPr/>
          </p:nvSpPr>
          <p:spPr bwMode="auto">
            <a:xfrm>
              <a:off x="2025" y="2728"/>
              <a:ext cx="1138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Tx/>
                <a:buNone/>
              </a:pPr>
              <a:r>
                <a:rPr lang="zh-CN" altLang="en-US" sz="1800" b="1" dirty="0">
                  <a:latin typeface="Arial" panose="020B0604020202020204" pitchFamily="34" charset="0"/>
                </a:rPr>
                <a:t>设置用户模式</a:t>
              </a:r>
              <a:endParaRPr lang="en-US" altLang="zh-CN" sz="1800" b="1" dirty="0">
                <a:latin typeface="Arial" panose="020B0604020202020204" pitchFamily="34" charset="0"/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8126" y="3118935"/>
            <a:ext cx="9422185" cy="31200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中断与异常</a:t>
            </a:r>
          </a:p>
        </p:txBody>
      </p:sp>
      <p:grpSp>
        <p:nvGrpSpPr>
          <p:cNvPr id="22" name="18592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0400" y="1181131"/>
            <a:ext cx="10838960" cy="4734027"/>
            <a:chOff x="660400" y="1181131"/>
            <a:chExt cx="10838960" cy="4734027"/>
          </a:xfrm>
        </p:grpSpPr>
        <p:sp>
          <p:nvSpPr>
            <p:cNvPr id="23" name="íṥḻîḑe"/>
            <p:cNvSpPr/>
            <p:nvPr/>
          </p:nvSpPr>
          <p:spPr>
            <a:xfrm>
              <a:off x="682048" y="1580300"/>
              <a:ext cx="3476055" cy="2567583"/>
            </a:xfrm>
            <a:prstGeom prst="rect">
              <a:avLst/>
            </a:prstGeom>
            <a:blipFill>
              <a:blip r:embed="rId3"/>
              <a:srcRect/>
              <a:stretch>
                <a:fillRect t="-17779" b="-17603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5" name="ïşḻiḍé"/>
            <p:cNvSpPr/>
            <p:nvPr/>
          </p:nvSpPr>
          <p:spPr>
            <a:xfrm>
              <a:off x="660400" y="4245058"/>
              <a:ext cx="3517243" cy="1670100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2000" dirty="0">
                  <a:solidFill>
                    <a:schemeClr val="tx1"/>
                  </a:solidFill>
                </a:rPr>
                <a:t>操作系统是中断驱动的，</a:t>
              </a:r>
              <a:r>
                <a:rPr lang="en-US" altLang="zh-CN" sz="2000" dirty="0">
                  <a:solidFill>
                    <a:schemeClr val="tx1"/>
                  </a:solidFill>
                </a:rPr>
                <a:t>OS</a:t>
              </a:r>
              <a:r>
                <a:rPr lang="zh-CN" altLang="en-US" sz="2000" dirty="0">
                  <a:solidFill>
                    <a:schemeClr val="tx1"/>
                  </a:solidFill>
                </a:rPr>
                <a:t>总在等待某个事件的发生，事件总是由中断或异常引起的。</a:t>
              </a:r>
            </a:p>
          </p:txBody>
        </p:sp>
        <p:sp>
          <p:nvSpPr>
            <p:cNvPr id="26" name="îŝļiḋe"/>
            <p:cNvSpPr/>
            <p:nvPr/>
          </p:nvSpPr>
          <p:spPr>
            <a:xfrm>
              <a:off x="4352677" y="1580300"/>
              <a:ext cx="3476055" cy="2567583"/>
            </a:xfrm>
            <a:prstGeom prst="rect">
              <a:avLst/>
            </a:prstGeom>
            <a:blipFill>
              <a:blip r:embed="rId4"/>
              <a:srcRect/>
              <a:stretch>
                <a:fillRect t="-50445" b="-49949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8" name="ïšlïḑè"/>
            <p:cNvSpPr/>
            <p:nvPr/>
          </p:nvSpPr>
          <p:spPr>
            <a:xfrm>
              <a:off x="4331029" y="4245058"/>
              <a:ext cx="3517243" cy="1670100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rmAutofit/>
            </a:bodyPr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2000" dirty="0">
                  <a:solidFill>
                    <a:srgbClr val="0000FF"/>
                  </a:solidFill>
                </a:rPr>
                <a:t>中断</a:t>
              </a:r>
              <a:r>
                <a:rPr lang="zh-CN" altLang="en-US" sz="2000" dirty="0">
                  <a:solidFill>
                    <a:schemeClr val="tx1"/>
                  </a:solidFill>
                </a:rPr>
                <a:t>（</a:t>
              </a:r>
              <a:r>
                <a:rPr lang="en-US" altLang="zh-CN" sz="2000" dirty="0">
                  <a:solidFill>
                    <a:schemeClr val="tx1"/>
                  </a:solidFill>
                </a:rPr>
                <a:t>interrupt</a:t>
              </a:r>
              <a:r>
                <a:rPr lang="zh-CN" altLang="en-US" sz="2000" dirty="0">
                  <a:solidFill>
                    <a:schemeClr val="tx1"/>
                  </a:solidFill>
                </a:rPr>
                <a:t>）：由</a:t>
              </a:r>
              <a:r>
                <a:rPr lang="zh-CN" altLang="en-US" sz="2000" dirty="0">
                  <a:solidFill>
                    <a:srgbClr val="0000FF"/>
                  </a:solidFill>
                </a:rPr>
                <a:t>硬件</a:t>
              </a:r>
              <a:r>
                <a:rPr lang="zh-CN" altLang="en-US" sz="2000" dirty="0">
                  <a:solidFill>
                    <a:schemeClr val="tx1"/>
                  </a:solidFill>
                </a:rPr>
                <a:t>引起。</a:t>
              </a:r>
            </a:p>
          </p:txBody>
        </p:sp>
        <p:sp>
          <p:nvSpPr>
            <p:cNvPr id="29" name="íŝḻiďé"/>
            <p:cNvSpPr/>
            <p:nvPr/>
          </p:nvSpPr>
          <p:spPr>
            <a:xfrm>
              <a:off x="8023305" y="1580300"/>
              <a:ext cx="3476055" cy="2567583"/>
            </a:xfrm>
            <a:prstGeom prst="rect">
              <a:avLst/>
            </a:prstGeom>
            <a:blipFill>
              <a:blip r:embed="rId5"/>
              <a:srcRect/>
              <a:stretch>
                <a:fillRect l="-5418" r="-5379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31" name="í$ḷîḋe"/>
            <p:cNvSpPr/>
            <p:nvPr/>
          </p:nvSpPr>
          <p:spPr>
            <a:xfrm>
              <a:off x="8001657" y="4245058"/>
              <a:ext cx="3497703" cy="1670100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marL="285750" indent="-285750">
                <a:lnSpc>
                  <a:spcPct val="130000"/>
                </a:lnSpc>
                <a:buFont typeface="Wingdings" panose="05000000000000000000" pitchFamily="2" charset="2"/>
                <a:buChar char="l"/>
              </a:pPr>
              <a:r>
                <a:rPr lang="zh-CN" altLang="en-US" sz="2000" dirty="0">
                  <a:solidFill>
                    <a:srgbClr val="FF0000"/>
                  </a:solidFill>
                </a:rPr>
                <a:t>异常</a:t>
              </a:r>
              <a:r>
                <a:rPr lang="en-US" altLang="zh-CN" sz="2000" dirty="0">
                  <a:solidFill>
                    <a:schemeClr val="tx1"/>
                  </a:solidFill>
                </a:rPr>
                <a:t>/</a:t>
              </a:r>
              <a:r>
                <a:rPr lang="zh-CN" altLang="en-US" sz="2000" dirty="0">
                  <a:solidFill>
                    <a:schemeClr val="tx1"/>
                  </a:solidFill>
                </a:rPr>
                <a:t>陷阱（</a:t>
              </a:r>
              <a:r>
                <a:rPr lang="en-US" altLang="zh-CN" sz="2000" dirty="0">
                  <a:solidFill>
                    <a:schemeClr val="tx1"/>
                  </a:solidFill>
                </a:rPr>
                <a:t>trap</a:t>
              </a:r>
              <a:r>
                <a:rPr lang="zh-CN" altLang="en-US" sz="2000" dirty="0">
                  <a:solidFill>
                    <a:schemeClr val="tx1"/>
                  </a:solidFill>
                </a:rPr>
                <a:t>）：由</a:t>
              </a:r>
              <a:r>
                <a:rPr lang="zh-CN" altLang="en-US" sz="2000" dirty="0">
                  <a:solidFill>
                    <a:srgbClr val="FF0000"/>
                  </a:solidFill>
                </a:rPr>
                <a:t>软件</a:t>
              </a:r>
              <a:r>
                <a:rPr lang="zh-CN" altLang="en-US" sz="2000" dirty="0">
                  <a:solidFill>
                    <a:schemeClr val="tx1"/>
                  </a:solidFill>
                </a:rPr>
                <a:t>引起。</a:t>
              </a:r>
            </a:p>
            <a:p>
              <a:pPr marL="742950" lvl="1" indent="-285750">
                <a:lnSpc>
                  <a:spcPct val="130000"/>
                </a:lnSpc>
                <a:buFont typeface="Wingdings" panose="05000000000000000000" pitchFamily="2" charset="2"/>
                <a:buChar char="Ø"/>
              </a:pPr>
              <a:r>
                <a:rPr lang="zh-CN" altLang="en-US" dirty="0">
                  <a:solidFill>
                    <a:schemeClr val="tx1"/>
                  </a:solidFill>
                </a:rPr>
                <a:t>出错（如除数为零或无效存储访问）。</a:t>
              </a:r>
            </a:p>
            <a:p>
              <a:pPr marL="742950" lvl="1" indent="-285750">
                <a:lnSpc>
                  <a:spcPct val="130000"/>
                </a:lnSpc>
                <a:buFont typeface="Wingdings" panose="05000000000000000000" pitchFamily="2" charset="2"/>
                <a:buChar char="Ø"/>
              </a:pPr>
              <a:r>
                <a:rPr lang="zh-CN" altLang="en-US" dirty="0">
                  <a:solidFill>
                    <a:schemeClr val="tx1"/>
                  </a:solidFill>
                </a:rPr>
                <a:t>用户程序的特定请求（如执行</a:t>
              </a:r>
              <a:r>
                <a:rPr lang="en-US" altLang="zh-CN" dirty="0">
                  <a:solidFill>
                    <a:schemeClr val="tx1"/>
                  </a:solidFill>
                </a:rPr>
                <a:t>OS</a:t>
              </a:r>
              <a:r>
                <a:rPr lang="zh-CN" altLang="en-US" dirty="0">
                  <a:solidFill>
                    <a:schemeClr val="tx1"/>
                  </a:solidFill>
                </a:rPr>
                <a:t>的某个服务）。</a:t>
              </a:r>
            </a:p>
          </p:txBody>
        </p:sp>
        <p:sp>
          <p:nvSpPr>
            <p:cNvPr id="32" name="ï$lïďè"/>
            <p:cNvSpPr/>
            <p:nvPr/>
          </p:nvSpPr>
          <p:spPr bwMode="auto">
            <a:xfrm>
              <a:off x="2253506" y="1181131"/>
              <a:ext cx="333138" cy="310404"/>
            </a:xfrm>
            <a:custGeom>
              <a:avLst/>
              <a:gdLst>
                <a:gd name="connsiteX0" fmla="*/ 484855 w 606016"/>
                <a:gd name="connsiteY0" fmla="*/ 473988 h 564664"/>
                <a:gd name="connsiteX1" fmla="*/ 505037 w 606016"/>
                <a:gd name="connsiteY1" fmla="*/ 494170 h 564664"/>
                <a:gd name="connsiteX2" fmla="*/ 484855 w 606016"/>
                <a:gd name="connsiteY2" fmla="*/ 514352 h 564664"/>
                <a:gd name="connsiteX3" fmla="*/ 464673 w 606016"/>
                <a:gd name="connsiteY3" fmla="*/ 494170 h 564664"/>
                <a:gd name="connsiteX4" fmla="*/ 484855 w 606016"/>
                <a:gd name="connsiteY4" fmla="*/ 473988 h 564664"/>
                <a:gd name="connsiteX5" fmla="*/ 121232 w 606016"/>
                <a:gd name="connsiteY5" fmla="*/ 473988 h 564664"/>
                <a:gd name="connsiteX6" fmla="*/ 141414 w 606016"/>
                <a:gd name="connsiteY6" fmla="*/ 494170 h 564664"/>
                <a:gd name="connsiteX7" fmla="*/ 121232 w 606016"/>
                <a:gd name="connsiteY7" fmla="*/ 514352 h 564664"/>
                <a:gd name="connsiteX8" fmla="*/ 101050 w 606016"/>
                <a:gd name="connsiteY8" fmla="*/ 494170 h 564664"/>
                <a:gd name="connsiteX9" fmla="*/ 121232 w 606016"/>
                <a:gd name="connsiteY9" fmla="*/ 473988 h 564664"/>
                <a:gd name="connsiteX10" fmla="*/ 484813 w 606016"/>
                <a:gd name="connsiteY10" fmla="*/ 443658 h 564664"/>
                <a:gd name="connsiteX11" fmla="*/ 434364 w 606016"/>
                <a:gd name="connsiteY11" fmla="*/ 494115 h 564664"/>
                <a:gd name="connsiteX12" fmla="*/ 484813 w 606016"/>
                <a:gd name="connsiteY12" fmla="*/ 544482 h 564664"/>
                <a:gd name="connsiteX13" fmla="*/ 535352 w 606016"/>
                <a:gd name="connsiteY13" fmla="*/ 494115 h 564664"/>
                <a:gd name="connsiteX14" fmla="*/ 484813 w 606016"/>
                <a:gd name="connsiteY14" fmla="*/ 443658 h 564664"/>
                <a:gd name="connsiteX15" fmla="*/ 121293 w 606016"/>
                <a:gd name="connsiteY15" fmla="*/ 443658 h 564664"/>
                <a:gd name="connsiteX16" fmla="*/ 70755 w 606016"/>
                <a:gd name="connsiteY16" fmla="*/ 494115 h 564664"/>
                <a:gd name="connsiteX17" fmla="*/ 121293 w 606016"/>
                <a:gd name="connsiteY17" fmla="*/ 544482 h 564664"/>
                <a:gd name="connsiteX18" fmla="*/ 171742 w 606016"/>
                <a:gd name="connsiteY18" fmla="*/ 494115 h 564664"/>
                <a:gd name="connsiteX19" fmla="*/ 121293 w 606016"/>
                <a:gd name="connsiteY19" fmla="*/ 443658 h 564664"/>
                <a:gd name="connsiteX20" fmla="*/ 303053 w 606016"/>
                <a:gd name="connsiteY20" fmla="*/ 373109 h 564664"/>
                <a:gd name="connsiteX21" fmla="*/ 292945 w 606016"/>
                <a:gd name="connsiteY21" fmla="*/ 383200 h 564664"/>
                <a:gd name="connsiteX22" fmla="*/ 303053 w 606016"/>
                <a:gd name="connsiteY22" fmla="*/ 393292 h 564664"/>
                <a:gd name="connsiteX23" fmla="*/ 343484 w 606016"/>
                <a:gd name="connsiteY23" fmla="*/ 393292 h 564664"/>
                <a:gd name="connsiteX24" fmla="*/ 343484 w 606016"/>
                <a:gd name="connsiteY24" fmla="*/ 403383 h 564664"/>
                <a:gd name="connsiteX25" fmla="*/ 353592 w 606016"/>
                <a:gd name="connsiteY25" fmla="*/ 413474 h 564664"/>
                <a:gd name="connsiteX26" fmla="*/ 363610 w 606016"/>
                <a:gd name="connsiteY26" fmla="*/ 403383 h 564664"/>
                <a:gd name="connsiteX27" fmla="*/ 363610 w 606016"/>
                <a:gd name="connsiteY27" fmla="*/ 383200 h 564664"/>
                <a:gd name="connsiteX28" fmla="*/ 353592 w 606016"/>
                <a:gd name="connsiteY28" fmla="*/ 373109 h 564664"/>
                <a:gd name="connsiteX29" fmla="*/ 313169 w 606016"/>
                <a:gd name="connsiteY29" fmla="*/ 282403 h 564664"/>
                <a:gd name="connsiteX30" fmla="*/ 447018 w 606016"/>
                <a:gd name="connsiteY30" fmla="*/ 282403 h 564664"/>
                <a:gd name="connsiteX31" fmla="*/ 465069 w 606016"/>
                <a:gd name="connsiteY31" fmla="*/ 311699 h 564664"/>
                <a:gd name="connsiteX32" fmla="*/ 473282 w 606016"/>
                <a:gd name="connsiteY32" fmla="*/ 322696 h 564664"/>
                <a:gd name="connsiteX33" fmla="*/ 313169 w 606016"/>
                <a:gd name="connsiteY33" fmla="*/ 322696 h 564664"/>
                <a:gd name="connsiteX34" fmla="*/ 161665 w 606016"/>
                <a:gd name="connsiteY34" fmla="*/ 282403 h 564664"/>
                <a:gd name="connsiteX35" fmla="*/ 292917 w 606016"/>
                <a:gd name="connsiteY35" fmla="*/ 282403 h 564664"/>
                <a:gd name="connsiteX36" fmla="*/ 292917 w 606016"/>
                <a:gd name="connsiteY36" fmla="*/ 322696 h 564664"/>
                <a:gd name="connsiteX37" fmla="*/ 161665 w 606016"/>
                <a:gd name="connsiteY37" fmla="*/ 322696 h 564664"/>
                <a:gd name="connsiteX38" fmla="*/ 191958 w 606016"/>
                <a:gd name="connsiteY38" fmla="*/ 0 h 564664"/>
                <a:gd name="connsiteX39" fmla="*/ 202066 w 606016"/>
                <a:gd name="connsiteY39" fmla="*/ 10092 h 564664"/>
                <a:gd name="connsiteX40" fmla="*/ 202066 w 606016"/>
                <a:gd name="connsiteY40" fmla="*/ 40366 h 564664"/>
                <a:gd name="connsiteX41" fmla="*/ 222281 w 606016"/>
                <a:gd name="connsiteY41" fmla="*/ 40366 h 564664"/>
                <a:gd name="connsiteX42" fmla="*/ 222281 w 606016"/>
                <a:gd name="connsiteY42" fmla="*/ 10092 h 564664"/>
                <a:gd name="connsiteX43" fmla="*/ 232389 w 606016"/>
                <a:gd name="connsiteY43" fmla="*/ 0 h 564664"/>
                <a:gd name="connsiteX44" fmla="*/ 242406 w 606016"/>
                <a:gd name="connsiteY44" fmla="*/ 10092 h 564664"/>
                <a:gd name="connsiteX45" fmla="*/ 242406 w 606016"/>
                <a:gd name="connsiteY45" fmla="*/ 40366 h 564664"/>
                <a:gd name="connsiteX46" fmla="*/ 252514 w 606016"/>
                <a:gd name="connsiteY46" fmla="*/ 50457 h 564664"/>
                <a:gd name="connsiteX47" fmla="*/ 252514 w 606016"/>
                <a:gd name="connsiteY47" fmla="*/ 100823 h 564664"/>
                <a:gd name="connsiteX48" fmla="*/ 242406 w 606016"/>
                <a:gd name="connsiteY48" fmla="*/ 110915 h 564664"/>
                <a:gd name="connsiteX49" fmla="*/ 221379 w 606016"/>
                <a:gd name="connsiteY49" fmla="*/ 110915 h 564664"/>
                <a:gd name="connsiteX50" fmla="*/ 161634 w 606016"/>
                <a:gd name="connsiteY50" fmla="*/ 161371 h 564664"/>
                <a:gd name="connsiteX51" fmla="*/ 101078 w 606016"/>
                <a:gd name="connsiteY51" fmla="*/ 100823 h 564664"/>
                <a:gd name="connsiteX52" fmla="*/ 60647 w 606016"/>
                <a:gd name="connsiteY52" fmla="*/ 60548 h 564664"/>
                <a:gd name="connsiteX53" fmla="*/ 20216 w 606016"/>
                <a:gd name="connsiteY53" fmla="*/ 100823 h 564664"/>
                <a:gd name="connsiteX54" fmla="*/ 20216 w 606016"/>
                <a:gd name="connsiteY54" fmla="*/ 231921 h 564664"/>
                <a:gd name="connsiteX55" fmla="*/ 80862 w 606016"/>
                <a:gd name="connsiteY55" fmla="*/ 292469 h 564664"/>
                <a:gd name="connsiteX56" fmla="*/ 82126 w 606016"/>
                <a:gd name="connsiteY56" fmla="*/ 292649 h 564664"/>
                <a:gd name="connsiteX57" fmla="*/ 105229 w 606016"/>
                <a:gd name="connsiteY57" fmla="*/ 255167 h 564664"/>
                <a:gd name="connsiteX58" fmla="*/ 164883 w 606016"/>
                <a:gd name="connsiteY58" fmla="*/ 221829 h 564664"/>
                <a:gd name="connsiteX59" fmla="*/ 370559 w 606016"/>
                <a:gd name="connsiteY59" fmla="*/ 221829 h 564664"/>
                <a:gd name="connsiteX60" fmla="*/ 430213 w 606016"/>
                <a:gd name="connsiteY60" fmla="*/ 255077 h 564664"/>
                <a:gd name="connsiteX61" fmla="*/ 434545 w 606016"/>
                <a:gd name="connsiteY61" fmla="*/ 262195 h 564664"/>
                <a:gd name="connsiteX62" fmla="*/ 159920 w 606016"/>
                <a:gd name="connsiteY62" fmla="*/ 262195 h 564664"/>
                <a:gd name="connsiteX63" fmla="*/ 141419 w 606016"/>
                <a:gd name="connsiteY63" fmla="*/ 280575 h 564664"/>
                <a:gd name="connsiteX64" fmla="*/ 141419 w 606016"/>
                <a:gd name="connsiteY64" fmla="*/ 324455 h 564664"/>
                <a:gd name="connsiteX65" fmla="*/ 159920 w 606016"/>
                <a:gd name="connsiteY65" fmla="*/ 342835 h 564664"/>
                <a:gd name="connsiteX66" fmla="*/ 498801 w 606016"/>
                <a:gd name="connsiteY66" fmla="*/ 342835 h 564664"/>
                <a:gd name="connsiteX67" fmla="*/ 538962 w 606016"/>
                <a:gd name="connsiteY67" fmla="*/ 352926 h 564664"/>
                <a:gd name="connsiteX68" fmla="*/ 580566 w 606016"/>
                <a:gd name="connsiteY68" fmla="*/ 352926 h 564664"/>
                <a:gd name="connsiteX69" fmla="*/ 606016 w 606016"/>
                <a:gd name="connsiteY69" fmla="*/ 378335 h 564664"/>
                <a:gd name="connsiteX70" fmla="*/ 606016 w 606016"/>
                <a:gd name="connsiteY70" fmla="*/ 403383 h 564664"/>
                <a:gd name="connsiteX71" fmla="*/ 555567 w 606016"/>
                <a:gd name="connsiteY71" fmla="*/ 403383 h 564664"/>
                <a:gd name="connsiteX72" fmla="*/ 545460 w 606016"/>
                <a:gd name="connsiteY72" fmla="*/ 413474 h 564664"/>
                <a:gd name="connsiteX73" fmla="*/ 555567 w 606016"/>
                <a:gd name="connsiteY73" fmla="*/ 423476 h 564664"/>
                <a:gd name="connsiteX74" fmla="*/ 606016 w 606016"/>
                <a:gd name="connsiteY74" fmla="*/ 423476 h 564664"/>
                <a:gd name="connsiteX75" fmla="*/ 606016 w 606016"/>
                <a:gd name="connsiteY75" fmla="*/ 463391 h 564664"/>
                <a:gd name="connsiteX76" fmla="*/ 565224 w 606016"/>
                <a:gd name="connsiteY76" fmla="*/ 504206 h 564664"/>
                <a:gd name="connsiteX77" fmla="*/ 554755 w 606016"/>
                <a:gd name="connsiteY77" fmla="*/ 504206 h 564664"/>
                <a:gd name="connsiteX78" fmla="*/ 484813 w 606016"/>
                <a:gd name="connsiteY78" fmla="*/ 564664 h 564664"/>
                <a:gd name="connsiteX79" fmla="*/ 414961 w 606016"/>
                <a:gd name="connsiteY79" fmla="*/ 504206 h 564664"/>
                <a:gd name="connsiteX80" fmla="*/ 191145 w 606016"/>
                <a:gd name="connsiteY80" fmla="*/ 504206 h 564664"/>
                <a:gd name="connsiteX81" fmla="*/ 121293 w 606016"/>
                <a:gd name="connsiteY81" fmla="*/ 564664 h 564664"/>
                <a:gd name="connsiteX82" fmla="*/ 51351 w 606016"/>
                <a:gd name="connsiteY82" fmla="*/ 504206 h 564664"/>
                <a:gd name="connsiteX83" fmla="*/ 35377 w 606016"/>
                <a:gd name="connsiteY83" fmla="*/ 504206 h 564664"/>
                <a:gd name="connsiteX84" fmla="*/ 90 w 606016"/>
                <a:gd name="connsiteY84" fmla="*/ 468977 h 564664"/>
                <a:gd name="connsiteX85" fmla="*/ 0 w 606016"/>
                <a:gd name="connsiteY85" fmla="*/ 423476 h 564664"/>
                <a:gd name="connsiteX86" fmla="*/ 50539 w 606016"/>
                <a:gd name="connsiteY86" fmla="*/ 423476 h 564664"/>
                <a:gd name="connsiteX87" fmla="*/ 60647 w 606016"/>
                <a:gd name="connsiteY87" fmla="*/ 413474 h 564664"/>
                <a:gd name="connsiteX88" fmla="*/ 50539 w 606016"/>
                <a:gd name="connsiteY88" fmla="*/ 403383 h 564664"/>
                <a:gd name="connsiteX89" fmla="*/ 0 w 606016"/>
                <a:gd name="connsiteY89" fmla="*/ 403383 h 564664"/>
                <a:gd name="connsiteX90" fmla="*/ 0 w 606016"/>
                <a:gd name="connsiteY90" fmla="*/ 378335 h 564664"/>
                <a:gd name="connsiteX91" fmla="*/ 7400 w 606016"/>
                <a:gd name="connsiteY91" fmla="*/ 360405 h 564664"/>
                <a:gd name="connsiteX92" fmla="*/ 25540 w 606016"/>
                <a:gd name="connsiteY92" fmla="*/ 352926 h 564664"/>
                <a:gd name="connsiteX93" fmla="*/ 54961 w 606016"/>
                <a:gd name="connsiteY93" fmla="*/ 336798 h 564664"/>
                <a:gd name="connsiteX94" fmla="*/ 70303 w 606016"/>
                <a:gd name="connsiteY94" fmla="*/ 311840 h 564664"/>
                <a:gd name="connsiteX95" fmla="*/ 90 w 606016"/>
                <a:gd name="connsiteY95" fmla="*/ 231921 h 564664"/>
                <a:gd name="connsiteX96" fmla="*/ 90 w 606016"/>
                <a:gd name="connsiteY96" fmla="*/ 100823 h 564664"/>
                <a:gd name="connsiteX97" fmla="*/ 60647 w 606016"/>
                <a:gd name="connsiteY97" fmla="*/ 40366 h 564664"/>
                <a:gd name="connsiteX98" fmla="*/ 121293 w 606016"/>
                <a:gd name="connsiteY98" fmla="*/ 100823 h 564664"/>
                <a:gd name="connsiteX99" fmla="*/ 161634 w 606016"/>
                <a:gd name="connsiteY99" fmla="*/ 141189 h 564664"/>
                <a:gd name="connsiteX100" fmla="*/ 200622 w 606016"/>
                <a:gd name="connsiteY100" fmla="*/ 110915 h 564664"/>
                <a:gd name="connsiteX101" fmla="*/ 181850 w 606016"/>
                <a:gd name="connsiteY101" fmla="*/ 110915 h 564664"/>
                <a:gd name="connsiteX102" fmla="*/ 171742 w 606016"/>
                <a:gd name="connsiteY102" fmla="*/ 100823 h 564664"/>
                <a:gd name="connsiteX103" fmla="*/ 171742 w 606016"/>
                <a:gd name="connsiteY103" fmla="*/ 50457 h 564664"/>
                <a:gd name="connsiteX104" fmla="*/ 181850 w 606016"/>
                <a:gd name="connsiteY104" fmla="*/ 40366 h 564664"/>
                <a:gd name="connsiteX105" fmla="*/ 181850 w 606016"/>
                <a:gd name="connsiteY105" fmla="*/ 10092 h 564664"/>
                <a:gd name="connsiteX106" fmla="*/ 191958 w 606016"/>
                <a:gd name="connsiteY106" fmla="*/ 0 h 564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606016" h="564664">
                  <a:moveTo>
                    <a:pt x="484855" y="473988"/>
                  </a:moveTo>
                  <a:cubicBezTo>
                    <a:pt x="496001" y="473988"/>
                    <a:pt x="505037" y="483024"/>
                    <a:pt x="505037" y="494170"/>
                  </a:cubicBezTo>
                  <a:cubicBezTo>
                    <a:pt x="505037" y="505316"/>
                    <a:pt x="496001" y="514352"/>
                    <a:pt x="484855" y="514352"/>
                  </a:cubicBezTo>
                  <a:cubicBezTo>
                    <a:pt x="473709" y="514352"/>
                    <a:pt x="464673" y="505316"/>
                    <a:pt x="464673" y="494170"/>
                  </a:cubicBezTo>
                  <a:cubicBezTo>
                    <a:pt x="464673" y="483024"/>
                    <a:pt x="473709" y="473988"/>
                    <a:pt x="484855" y="473988"/>
                  </a:cubicBezTo>
                  <a:close/>
                  <a:moveTo>
                    <a:pt x="121232" y="473988"/>
                  </a:moveTo>
                  <a:cubicBezTo>
                    <a:pt x="132378" y="473988"/>
                    <a:pt x="141414" y="483024"/>
                    <a:pt x="141414" y="494170"/>
                  </a:cubicBezTo>
                  <a:cubicBezTo>
                    <a:pt x="141414" y="505316"/>
                    <a:pt x="132378" y="514352"/>
                    <a:pt x="121232" y="514352"/>
                  </a:cubicBezTo>
                  <a:cubicBezTo>
                    <a:pt x="110086" y="514352"/>
                    <a:pt x="101050" y="505316"/>
                    <a:pt x="101050" y="494170"/>
                  </a:cubicBezTo>
                  <a:cubicBezTo>
                    <a:pt x="101050" y="483024"/>
                    <a:pt x="110086" y="473988"/>
                    <a:pt x="121232" y="473988"/>
                  </a:cubicBezTo>
                  <a:close/>
                  <a:moveTo>
                    <a:pt x="484813" y="443658"/>
                  </a:moveTo>
                  <a:cubicBezTo>
                    <a:pt x="457016" y="443658"/>
                    <a:pt x="434364" y="466274"/>
                    <a:pt x="434364" y="494115"/>
                  </a:cubicBezTo>
                  <a:cubicBezTo>
                    <a:pt x="434364" y="521866"/>
                    <a:pt x="457016" y="544482"/>
                    <a:pt x="484813" y="544482"/>
                  </a:cubicBezTo>
                  <a:cubicBezTo>
                    <a:pt x="512699" y="544482"/>
                    <a:pt x="535352" y="521866"/>
                    <a:pt x="535352" y="494115"/>
                  </a:cubicBezTo>
                  <a:cubicBezTo>
                    <a:pt x="535352" y="466274"/>
                    <a:pt x="512699" y="443658"/>
                    <a:pt x="484813" y="443658"/>
                  </a:cubicBezTo>
                  <a:close/>
                  <a:moveTo>
                    <a:pt x="121293" y="443658"/>
                  </a:moveTo>
                  <a:cubicBezTo>
                    <a:pt x="93407" y="443658"/>
                    <a:pt x="70755" y="466274"/>
                    <a:pt x="70755" y="494115"/>
                  </a:cubicBezTo>
                  <a:cubicBezTo>
                    <a:pt x="70755" y="521866"/>
                    <a:pt x="93407" y="544482"/>
                    <a:pt x="121293" y="544482"/>
                  </a:cubicBezTo>
                  <a:cubicBezTo>
                    <a:pt x="149090" y="544482"/>
                    <a:pt x="171742" y="521866"/>
                    <a:pt x="171742" y="494115"/>
                  </a:cubicBezTo>
                  <a:cubicBezTo>
                    <a:pt x="171742" y="466274"/>
                    <a:pt x="149090" y="443658"/>
                    <a:pt x="121293" y="443658"/>
                  </a:cubicBezTo>
                  <a:close/>
                  <a:moveTo>
                    <a:pt x="303053" y="373109"/>
                  </a:moveTo>
                  <a:cubicBezTo>
                    <a:pt x="297458" y="373109"/>
                    <a:pt x="292945" y="377614"/>
                    <a:pt x="292945" y="383200"/>
                  </a:cubicBezTo>
                  <a:cubicBezTo>
                    <a:pt x="292945" y="388787"/>
                    <a:pt x="297458" y="393292"/>
                    <a:pt x="303053" y="393292"/>
                  </a:cubicBezTo>
                  <a:lnTo>
                    <a:pt x="343484" y="393292"/>
                  </a:lnTo>
                  <a:lnTo>
                    <a:pt x="343484" y="403383"/>
                  </a:lnTo>
                  <a:cubicBezTo>
                    <a:pt x="343484" y="408879"/>
                    <a:pt x="347997" y="413474"/>
                    <a:pt x="353592" y="413474"/>
                  </a:cubicBezTo>
                  <a:cubicBezTo>
                    <a:pt x="359097" y="413474"/>
                    <a:pt x="363610" y="408969"/>
                    <a:pt x="363610" y="403383"/>
                  </a:cubicBezTo>
                  <a:lnTo>
                    <a:pt x="363610" y="383200"/>
                  </a:lnTo>
                  <a:cubicBezTo>
                    <a:pt x="363610" y="377614"/>
                    <a:pt x="359097" y="373109"/>
                    <a:pt x="353592" y="373109"/>
                  </a:cubicBezTo>
                  <a:close/>
                  <a:moveTo>
                    <a:pt x="313169" y="282403"/>
                  </a:moveTo>
                  <a:lnTo>
                    <a:pt x="447018" y="282403"/>
                  </a:lnTo>
                  <a:lnTo>
                    <a:pt x="465069" y="311699"/>
                  </a:lnTo>
                  <a:cubicBezTo>
                    <a:pt x="467506" y="315665"/>
                    <a:pt x="470304" y="319271"/>
                    <a:pt x="473282" y="322696"/>
                  </a:cubicBezTo>
                  <a:lnTo>
                    <a:pt x="313169" y="322696"/>
                  </a:lnTo>
                  <a:close/>
                  <a:moveTo>
                    <a:pt x="161665" y="282403"/>
                  </a:moveTo>
                  <a:lnTo>
                    <a:pt x="292917" y="282403"/>
                  </a:lnTo>
                  <a:lnTo>
                    <a:pt x="292917" y="322696"/>
                  </a:lnTo>
                  <a:lnTo>
                    <a:pt x="161665" y="322696"/>
                  </a:lnTo>
                  <a:close/>
                  <a:moveTo>
                    <a:pt x="191958" y="0"/>
                  </a:moveTo>
                  <a:cubicBezTo>
                    <a:pt x="197553" y="0"/>
                    <a:pt x="202066" y="4505"/>
                    <a:pt x="202066" y="10092"/>
                  </a:cubicBezTo>
                  <a:lnTo>
                    <a:pt x="202066" y="40366"/>
                  </a:lnTo>
                  <a:lnTo>
                    <a:pt x="222281" y="40366"/>
                  </a:lnTo>
                  <a:lnTo>
                    <a:pt x="222281" y="10092"/>
                  </a:lnTo>
                  <a:cubicBezTo>
                    <a:pt x="222281" y="4505"/>
                    <a:pt x="226793" y="0"/>
                    <a:pt x="232389" y="0"/>
                  </a:cubicBezTo>
                  <a:cubicBezTo>
                    <a:pt x="237894" y="0"/>
                    <a:pt x="242406" y="4505"/>
                    <a:pt x="242406" y="10092"/>
                  </a:cubicBezTo>
                  <a:lnTo>
                    <a:pt x="242406" y="40366"/>
                  </a:lnTo>
                  <a:cubicBezTo>
                    <a:pt x="248002" y="40366"/>
                    <a:pt x="252514" y="44871"/>
                    <a:pt x="252514" y="50457"/>
                  </a:cubicBezTo>
                  <a:lnTo>
                    <a:pt x="252514" y="100823"/>
                  </a:lnTo>
                  <a:cubicBezTo>
                    <a:pt x="252514" y="106410"/>
                    <a:pt x="248002" y="110915"/>
                    <a:pt x="242406" y="110915"/>
                  </a:cubicBezTo>
                  <a:lnTo>
                    <a:pt x="221379" y="110915"/>
                  </a:lnTo>
                  <a:cubicBezTo>
                    <a:pt x="216505" y="139477"/>
                    <a:pt x="191597" y="161371"/>
                    <a:pt x="161634" y="161371"/>
                  </a:cubicBezTo>
                  <a:cubicBezTo>
                    <a:pt x="128243" y="161371"/>
                    <a:pt x="101078" y="134251"/>
                    <a:pt x="101078" y="100823"/>
                  </a:cubicBezTo>
                  <a:cubicBezTo>
                    <a:pt x="101078" y="78568"/>
                    <a:pt x="82938" y="60548"/>
                    <a:pt x="60647" y="60548"/>
                  </a:cubicBezTo>
                  <a:cubicBezTo>
                    <a:pt x="38355" y="60548"/>
                    <a:pt x="20216" y="78568"/>
                    <a:pt x="20216" y="100823"/>
                  </a:cubicBezTo>
                  <a:lnTo>
                    <a:pt x="20216" y="231921"/>
                  </a:lnTo>
                  <a:cubicBezTo>
                    <a:pt x="20216" y="265258"/>
                    <a:pt x="47470" y="292469"/>
                    <a:pt x="80862" y="292469"/>
                  </a:cubicBezTo>
                  <a:cubicBezTo>
                    <a:pt x="81314" y="292469"/>
                    <a:pt x="81675" y="292649"/>
                    <a:pt x="82126" y="292649"/>
                  </a:cubicBezTo>
                  <a:lnTo>
                    <a:pt x="105229" y="255167"/>
                  </a:lnTo>
                  <a:cubicBezTo>
                    <a:pt x="117864" y="234624"/>
                    <a:pt x="140697" y="221829"/>
                    <a:pt x="164883" y="221829"/>
                  </a:cubicBezTo>
                  <a:lnTo>
                    <a:pt x="370559" y="221829"/>
                  </a:lnTo>
                  <a:cubicBezTo>
                    <a:pt x="394655" y="221829"/>
                    <a:pt x="417578" y="234624"/>
                    <a:pt x="430213" y="255077"/>
                  </a:cubicBezTo>
                  <a:lnTo>
                    <a:pt x="434545" y="262195"/>
                  </a:lnTo>
                  <a:lnTo>
                    <a:pt x="159920" y="262195"/>
                  </a:lnTo>
                  <a:cubicBezTo>
                    <a:pt x="149722" y="262195"/>
                    <a:pt x="141419" y="270484"/>
                    <a:pt x="141419" y="280575"/>
                  </a:cubicBezTo>
                  <a:lnTo>
                    <a:pt x="141419" y="324455"/>
                  </a:lnTo>
                  <a:cubicBezTo>
                    <a:pt x="141419" y="334546"/>
                    <a:pt x="149722" y="342835"/>
                    <a:pt x="159920" y="342835"/>
                  </a:cubicBezTo>
                  <a:lnTo>
                    <a:pt x="498801" y="342835"/>
                  </a:lnTo>
                  <a:cubicBezTo>
                    <a:pt x="511075" y="349322"/>
                    <a:pt x="524793" y="352926"/>
                    <a:pt x="538962" y="352926"/>
                  </a:cubicBezTo>
                  <a:lnTo>
                    <a:pt x="580566" y="352926"/>
                  </a:lnTo>
                  <a:cubicBezTo>
                    <a:pt x="594645" y="352926"/>
                    <a:pt x="606016" y="364369"/>
                    <a:pt x="606016" y="378335"/>
                  </a:cubicBezTo>
                  <a:lnTo>
                    <a:pt x="606016" y="403383"/>
                  </a:lnTo>
                  <a:lnTo>
                    <a:pt x="555567" y="403383"/>
                  </a:lnTo>
                  <a:cubicBezTo>
                    <a:pt x="549972" y="403383"/>
                    <a:pt x="545460" y="407888"/>
                    <a:pt x="545460" y="413474"/>
                  </a:cubicBezTo>
                  <a:cubicBezTo>
                    <a:pt x="545460" y="418971"/>
                    <a:pt x="549972" y="423476"/>
                    <a:pt x="555567" y="423476"/>
                  </a:cubicBezTo>
                  <a:lnTo>
                    <a:pt x="606016" y="423476"/>
                  </a:lnTo>
                  <a:lnTo>
                    <a:pt x="606016" y="463391"/>
                  </a:lnTo>
                  <a:cubicBezTo>
                    <a:pt x="606016" y="485916"/>
                    <a:pt x="587696" y="504206"/>
                    <a:pt x="565224" y="504206"/>
                  </a:cubicBezTo>
                  <a:lnTo>
                    <a:pt x="554755" y="504206"/>
                  </a:lnTo>
                  <a:cubicBezTo>
                    <a:pt x="549791" y="538355"/>
                    <a:pt x="520371" y="564664"/>
                    <a:pt x="484813" y="564664"/>
                  </a:cubicBezTo>
                  <a:cubicBezTo>
                    <a:pt x="449345" y="564664"/>
                    <a:pt x="419924" y="538355"/>
                    <a:pt x="414961" y="504206"/>
                  </a:cubicBezTo>
                  <a:lnTo>
                    <a:pt x="191145" y="504206"/>
                  </a:lnTo>
                  <a:cubicBezTo>
                    <a:pt x="186182" y="538355"/>
                    <a:pt x="156761" y="564664"/>
                    <a:pt x="121293" y="564664"/>
                  </a:cubicBezTo>
                  <a:cubicBezTo>
                    <a:pt x="85736" y="564664"/>
                    <a:pt x="56315" y="538355"/>
                    <a:pt x="51351" y="504206"/>
                  </a:cubicBezTo>
                  <a:lnTo>
                    <a:pt x="35377" y="504206"/>
                  </a:lnTo>
                  <a:cubicBezTo>
                    <a:pt x="15884" y="504206"/>
                    <a:pt x="90" y="488349"/>
                    <a:pt x="90" y="468977"/>
                  </a:cubicBezTo>
                  <a:lnTo>
                    <a:pt x="0" y="423476"/>
                  </a:lnTo>
                  <a:lnTo>
                    <a:pt x="50539" y="423476"/>
                  </a:lnTo>
                  <a:cubicBezTo>
                    <a:pt x="56134" y="423476"/>
                    <a:pt x="60647" y="418971"/>
                    <a:pt x="60647" y="413474"/>
                  </a:cubicBezTo>
                  <a:cubicBezTo>
                    <a:pt x="60647" y="407888"/>
                    <a:pt x="56134" y="403383"/>
                    <a:pt x="50539" y="403383"/>
                  </a:cubicBezTo>
                  <a:lnTo>
                    <a:pt x="0" y="403383"/>
                  </a:lnTo>
                  <a:lnTo>
                    <a:pt x="0" y="378335"/>
                  </a:lnTo>
                  <a:cubicBezTo>
                    <a:pt x="0" y="371577"/>
                    <a:pt x="2617" y="365180"/>
                    <a:pt x="7400" y="360405"/>
                  </a:cubicBezTo>
                  <a:cubicBezTo>
                    <a:pt x="12274" y="355630"/>
                    <a:pt x="18681" y="352926"/>
                    <a:pt x="25540" y="352926"/>
                  </a:cubicBezTo>
                  <a:cubicBezTo>
                    <a:pt x="37814" y="352926"/>
                    <a:pt x="48824" y="346710"/>
                    <a:pt x="54961" y="336798"/>
                  </a:cubicBezTo>
                  <a:lnTo>
                    <a:pt x="70303" y="311840"/>
                  </a:lnTo>
                  <a:cubicBezTo>
                    <a:pt x="30775" y="306614"/>
                    <a:pt x="90" y="272827"/>
                    <a:pt x="90" y="231921"/>
                  </a:cubicBezTo>
                  <a:lnTo>
                    <a:pt x="90" y="100823"/>
                  </a:lnTo>
                  <a:cubicBezTo>
                    <a:pt x="90" y="67486"/>
                    <a:pt x="27255" y="40366"/>
                    <a:pt x="60647" y="40366"/>
                  </a:cubicBezTo>
                  <a:cubicBezTo>
                    <a:pt x="94039" y="40366"/>
                    <a:pt x="121293" y="67486"/>
                    <a:pt x="121293" y="100823"/>
                  </a:cubicBezTo>
                  <a:cubicBezTo>
                    <a:pt x="121293" y="123078"/>
                    <a:pt x="139343" y="141189"/>
                    <a:pt x="161634" y="141189"/>
                  </a:cubicBezTo>
                  <a:cubicBezTo>
                    <a:pt x="180406" y="141189"/>
                    <a:pt x="196109" y="128304"/>
                    <a:pt x="200622" y="110915"/>
                  </a:cubicBezTo>
                  <a:lnTo>
                    <a:pt x="181850" y="110915"/>
                  </a:lnTo>
                  <a:cubicBezTo>
                    <a:pt x="176255" y="110915"/>
                    <a:pt x="171742" y="106410"/>
                    <a:pt x="171742" y="100823"/>
                  </a:cubicBezTo>
                  <a:lnTo>
                    <a:pt x="171742" y="50457"/>
                  </a:lnTo>
                  <a:cubicBezTo>
                    <a:pt x="171742" y="44871"/>
                    <a:pt x="176255" y="40366"/>
                    <a:pt x="181850" y="40366"/>
                  </a:cubicBezTo>
                  <a:lnTo>
                    <a:pt x="181850" y="10092"/>
                  </a:lnTo>
                  <a:cubicBezTo>
                    <a:pt x="181850" y="4505"/>
                    <a:pt x="186362" y="0"/>
                    <a:pt x="191958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33" name="iś1îḓê"/>
            <p:cNvSpPr/>
            <p:nvPr/>
          </p:nvSpPr>
          <p:spPr bwMode="auto">
            <a:xfrm>
              <a:off x="5924135" y="1186438"/>
              <a:ext cx="333138" cy="299788"/>
            </a:xfrm>
            <a:custGeom>
              <a:avLst/>
              <a:gdLst>
                <a:gd name="connsiteX0" fmla="*/ 225929 w 608344"/>
                <a:gd name="connsiteY0" fmla="*/ 296304 h 547447"/>
                <a:gd name="connsiteX1" fmla="*/ 225929 w 608344"/>
                <a:gd name="connsiteY1" fmla="*/ 341046 h 547447"/>
                <a:gd name="connsiteX2" fmla="*/ 44891 w 608344"/>
                <a:gd name="connsiteY2" fmla="*/ 420403 h 547447"/>
                <a:gd name="connsiteX3" fmla="*/ 287412 w 608344"/>
                <a:gd name="connsiteY3" fmla="*/ 502613 h 547447"/>
                <a:gd name="connsiteX4" fmla="*/ 530026 w 608344"/>
                <a:gd name="connsiteY4" fmla="*/ 420403 h 547447"/>
                <a:gd name="connsiteX5" fmla="*/ 351292 w 608344"/>
                <a:gd name="connsiteY5" fmla="*/ 341322 h 547447"/>
                <a:gd name="connsiteX6" fmla="*/ 351292 w 608344"/>
                <a:gd name="connsiteY6" fmla="*/ 296488 h 547447"/>
                <a:gd name="connsiteX7" fmla="*/ 574825 w 608344"/>
                <a:gd name="connsiteY7" fmla="*/ 420403 h 547447"/>
                <a:gd name="connsiteX8" fmla="*/ 287412 w 608344"/>
                <a:gd name="connsiteY8" fmla="*/ 547447 h 547447"/>
                <a:gd name="connsiteX9" fmla="*/ 0 w 608344"/>
                <a:gd name="connsiteY9" fmla="*/ 420403 h 547447"/>
                <a:gd name="connsiteX10" fmla="*/ 225929 w 608344"/>
                <a:gd name="connsiteY10" fmla="*/ 296304 h 547447"/>
                <a:gd name="connsiteX11" fmla="*/ 288618 w 608344"/>
                <a:gd name="connsiteY11" fmla="*/ 0 h 547447"/>
                <a:gd name="connsiteX12" fmla="*/ 311206 w 608344"/>
                <a:gd name="connsiteY12" fmla="*/ 22551 h 547447"/>
                <a:gd name="connsiteX13" fmla="*/ 311206 w 608344"/>
                <a:gd name="connsiteY13" fmla="*/ 36174 h 547447"/>
                <a:gd name="connsiteX14" fmla="*/ 370947 w 608344"/>
                <a:gd name="connsiteY14" fmla="*/ 21079 h 547447"/>
                <a:gd name="connsiteX15" fmla="*/ 428291 w 608344"/>
                <a:gd name="connsiteY15" fmla="*/ 34978 h 547447"/>
                <a:gd name="connsiteX16" fmla="*/ 486004 w 608344"/>
                <a:gd name="connsiteY16" fmla="*/ 48969 h 547447"/>
                <a:gd name="connsiteX17" fmla="*/ 540766 w 608344"/>
                <a:gd name="connsiteY17" fmla="*/ 36450 h 547447"/>
                <a:gd name="connsiteX18" fmla="*/ 578012 w 608344"/>
                <a:gd name="connsiteY18" fmla="*/ 18409 h 547447"/>
                <a:gd name="connsiteX19" fmla="*/ 587232 w 608344"/>
                <a:gd name="connsiteY19" fmla="*/ 16292 h 547447"/>
                <a:gd name="connsiteX20" fmla="*/ 598479 w 608344"/>
                <a:gd name="connsiteY20" fmla="*/ 19514 h 547447"/>
                <a:gd name="connsiteX21" fmla="*/ 608344 w 608344"/>
                <a:gd name="connsiteY21" fmla="*/ 37371 h 547447"/>
                <a:gd name="connsiteX22" fmla="*/ 608344 w 608344"/>
                <a:gd name="connsiteY22" fmla="*/ 174520 h 547447"/>
                <a:gd name="connsiteX23" fmla="*/ 596451 w 608344"/>
                <a:gd name="connsiteY23" fmla="*/ 193481 h 547447"/>
                <a:gd name="connsiteX24" fmla="*/ 540766 w 608344"/>
                <a:gd name="connsiteY24" fmla="*/ 220451 h 547447"/>
                <a:gd name="connsiteX25" fmla="*/ 486004 w 608344"/>
                <a:gd name="connsiteY25" fmla="*/ 232969 h 547447"/>
                <a:gd name="connsiteX26" fmla="*/ 428291 w 608344"/>
                <a:gd name="connsiteY26" fmla="*/ 218978 h 547447"/>
                <a:gd name="connsiteX27" fmla="*/ 370947 w 608344"/>
                <a:gd name="connsiteY27" fmla="*/ 205079 h 547447"/>
                <a:gd name="connsiteX28" fmla="*/ 311206 w 608344"/>
                <a:gd name="connsiteY28" fmla="*/ 220175 h 547447"/>
                <a:gd name="connsiteX29" fmla="*/ 311206 w 608344"/>
                <a:gd name="connsiteY29" fmla="*/ 426267 h 547447"/>
                <a:gd name="connsiteX30" fmla="*/ 288618 w 608344"/>
                <a:gd name="connsiteY30" fmla="*/ 448726 h 547447"/>
                <a:gd name="connsiteX31" fmla="*/ 266031 w 608344"/>
                <a:gd name="connsiteY31" fmla="*/ 426267 h 547447"/>
                <a:gd name="connsiteX32" fmla="*/ 266031 w 608344"/>
                <a:gd name="connsiteY32" fmla="*/ 22551 h 547447"/>
                <a:gd name="connsiteX33" fmla="*/ 288618 w 608344"/>
                <a:gd name="connsiteY33" fmla="*/ 0 h 547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08344" h="547447">
                  <a:moveTo>
                    <a:pt x="225929" y="296304"/>
                  </a:moveTo>
                  <a:lnTo>
                    <a:pt x="225929" y="341046"/>
                  </a:lnTo>
                  <a:cubicBezTo>
                    <a:pt x="112458" y="351817"/>
                    <a:pt x="44891" y="391035"/>
                    <a:pt x="44891" y="420403"/>
                  </a:cubicBezTo>
                  <a:cubicBezTo>
                    <a:pt x="44891" y="454741"/>
                    <a:pt x="137162" y="502613"/>
                    <a:pt x="287412" y="502613"/>
                  </a:cubicBezTo>
                  <a:cubicBezTo>
                    <a:pt x="437663" y="502613"/>
                    <a:pt x="530026" y="454741"/>
                    <a:pt x="530026" y="420403"/>
                  </a:cubicBezTo>
                  <a:cubicBezTo>
                    <a:pt x="530026" y="391219"/>
                    <a:pt x="463289" y="352369"/>
                    <a:pt x="351292" y="341322"/>
                  </a:cubicBezTo>
                  <a:lnTo>
                    <a:pt x="351292" y="296488"/>
                  </a:lnTo>
                  <a:cubicBezTo>
                    <a:pt x="468543" y="307904"/>
                    <a:pt x="574825" y="350436"/>
                    <a:pt x="574825" y="420403"/>
                  </a:cubicBezTo>
                  <a:cubicBezTo>
                    <a:pt x="574825" y="502889"/>
                    <a:pt x="426786" y="547447"/>
                    <a:pt x="287412" y="547447"/>
                  </a:cubicBezTo>
                  <a:cubicBezTo>
                    <a:pt x="148131" y="547447"/>
                    <a:pt x="0" y="502889"/>
                    <a:pt x="0" y="420403"/>
                  </a:cubicBezTo>
                  <a:cubicBezTo>
                    <a:pt x="0" y="349976"/>
                    <a:pt x="107757" y="307351"/>
                    <a:pt x="225929" y="296304"/>
                  </a:cubicBezTo>
                  <a:close/>
                  <a:moveTo>
                    <a:pt x="288618" y="0"/>
                  </a:moveTo>
                  <a:cubicBezTo>
                    <a:pt x="301064" y="0"/>
                    <a:pt x="311206" y="10033"/>
                    <a:pt x="311206" y="22551"/>
                  </a:cubicBezTo>
                  <a:lnTo>
                    <a:pt x="311206" y="36174"/>
                  </a:lnTo>
                  <a:cubicBezTo>
                    <a:pt x="329829" y="26141"/>
                    <a:pt x="350388" y="21079"/>
                    <a:pt x="370947" y="21079"/>
                  </a:cubicBezTo>
                  <a:cubicBezTo>
                    <a:pt x="390584" y="21079"/>
                    <a:pt x="410313" y="25681"/>
                    <a:pt x="428291" y="34978"/>
                  </a:cubicBezTo>
                  <a:cubicBezTo>
                    <a:pt x="446361" y="44366"/>
                    <a:pt x="466182" y="48969"/>
                    <a:pt x="486004" y="48969"/>
                  </a:cubicBezTo>
                  <a:cubicBezTo>
                    <a:pt x="504719" y="48969"/>
                    <a:pt x="523526" y="44827"/>
                    <a:pt x="540766" y="36450"/>
                  </a:cubicBezTo>
                  <a:lnTo>
                    <a:pt x="578012" y="18409"/>
                  </a:lnTo>
                  <a:cubicBezTo>
                    <a:pt x="580963" y="17029"/>
                    <a:pt x="584097" y="16292"/>
                    <a:pt x="587232" y="16292"/>
                  </a:cubicBezTo>
                  <a:cubicBezTo>
                    <a:pt x="591104" y="16292"/>
                    <a:pt x="594976" y="17397"/>
                    <a:pt x="598479" y="19514"/>
                  </a:cubicBezTo>
                  <a:cubicBezTo>
                    <a:pt x="604564" y="23380"/>
                    <a:pt x="608344" y="30099"/>
                    <a:pt x="608344" y="37371"/>
                  </a:cubicBezTo>
                  <a:lnTo>
                    <a:pt x="608344" y="174520"/>
                  </a:lnTo>
                  <a:cubicBezTo>
                    <a:pt x="608344" y="182620"/>
                    <a:pt x="603734" y="189984"/>
                    <a:pt x="596451" y="193481"/>
                  </a:cubicBezTo>
                  <a:lnTo>
                    <a:pt x="540766" y="220451"/>
                  </a:lnTo>
                  <a:cubicBezTo>
                    <a:pt x="523434" y="228827"/>
                    <a:pt x="504719" y="232969"/>
                    <a:pt x="486004" y="232969"/>
                  </a:cubicBezTo>
                  <a:cubicBezTo>
                    <a:pt x="466182" y="232969"/>
                    <a:pt x="446361" y="228367"/>
                    <a:pt x="428291" y="218978"/>
                  </a:cubicBezTo>
                  <a:cubicBezTo>
                    <a:pt x="410313" y="209774"/>
                    <a:pt x="390584" y="205079"/>
                    <a:pt x="370947" y="205079"/>
                  </a:cubicBezTo>
                  <a:cubicBezTo>
                    <a:pt x="350388" y="205079"/>
                    <a:pt x="329829" y="210142"/>
                    <a:pt x="311206" y="220175"/>
                  </a:cubicBezTo>
                  <a:lnTo>
                    <a:pt x="311206" y="426267"/>
                  </a:lnTo>
                  <a:cubicBezTo>
                    <a:pt x="311206" y="438693"/>
                    <a:pt x="301064" y="448726"/>
                    <a:pt x="288618" y="448726"/>
                  </a:cubicBezTo>
                  <a:cubicBezTo>
                    <a:pt x="276172" y="448726"/>
                    <a:pt x="266031" y="438693"/>
                    <a:pt x="266031" y="426267"/>
                  </a:cubicBezTo>
                  <a:lnTo>
                    <a:pt x="266031" y="22551"/>
                  </a:lnTo>
                  <a:cubicBezTo>
                    <a:pt x="266031" y="10033"/>
                    <a:pt x="276172" y="0"/>
                    <a:pt x="2886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34" name="išľíḓé"/>
            <p:cNvSpPr/>
            <p:nvPr/>
          </p:nvSpPr>
          <p:spPr bwMode="auto">
            <a:xfrm>
              <a:off x="9594763" y="1183282"/>
              <a:ext cx="333138" cy="306100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608909" h="559493">
                  <a:moveTo>
                    <a:pt x="470180" y="272856"/>
                  </a:moveTo>
                  <a:lnTo>
                    <a:pt x="476019" y="272856"/>
                  </a:lnTo>
                  <a:lnTo>
                    <a:pt x="481953" y="272856"/>
                  </a:lnTo>
                  <a:cubicBezTo>
                    <a:pt x="509171" y="272856"/>
                    <a:pt x="531210" y="294963"/>
                    <a:pt x="531210" y="322056"/>
                  </a:cubicBezTo>
                  <a:lnTo>
                    <a:pt x="531210" y="376617"/>
                  </a:lnTo>
                  <a:cubicBezTo>
                    <a:pt x="531210" y="385084"/>
                    <a:pt x="526783" y="392609"/>
                    <a:pt x="520096" y="397031"/>
                  </a:cubicBezTo>
                  <a:lnTo>
                    <a:pt x="520096" y="449711"/>
                  </a:lnTo>
                  <a:cubicBezTo>
                    <a:pt x="520096" y="450558"/>
                    <a:pt x="520661" y="451498"/>
                    <a:pt x="521509" y="451875"/>
                  </a:cubicBezTo>
                  <a:cubicBezTo>
                    <a:pt x="528949" y="455450"/>
                    <a:pt x="565492" y="473888"/>
                    <a:pt x="599209" y="501639"/>
                  </a:cubicBezTo>
                  <a:cubicBezTo>
                    <a:pt x="605425" y="506625"/>
                    <a:pt x="608909" y="514150"/>
                    <a:pt x="608909" y="522052"/>
                  </a:cubicBezTo>
                  <a:lnTo>
                    <a:pt x="608909" y="559493"/>
                  </a:lnTo>
                  <a:lnTo>
                    <a:pt x="483083" y="559493"/>
                  </a:lnTo>
                  <a:lnTo>
                    <a:pt x="483083" y="515561"/>
                  </a:lnTo>
                  <a:cubicBezTo>
                    <a:pt x="483083" y="499475"/>
                    <a:pt x="476019" y="484424"/>
                    <a:pt x="463587" y="474264"/>
                  </a:cubicBezTo>
                  <a:cubicBezTo>
                    <a:pt x="453039" y="465609"/>
                    <a:pt x="442302" y="457707"/>
                    <a:pt x="431848" y="450558"/>
                  </a:cubicBezTo>
                  <a:cubicBezTo>
                    <a:pt x="431848" y="450370"/>
                    <a:pt x="431942" y="450087"/>
                    <a:pt x="431942" y="449711"/>
                  </a:cubicBezTo>
                  <a:lnTo>
                    <a:pt x="431942" y="397031"/>
                  </a:lnTo>
                  <a:cubicBezTo>
                    <a:pt x="425350" y="392609"/>
                    <a:pt x="420923" y="385084"/>
                    <a:pt x="420923" y="376617"/>
                  </a:cubicBezTo>
                  <a:lnTo>
                    <a:pt x="420923" y="322056"/>
                  </a:lnTo>
                  <a:cubicBezTo>
                    <a:pt x="420923" y="294775"/>
                    <a:pt x="443056" y="272856"/>
                    <a:pt x="470180" y="272856"/>
                  </a:cubicBezTo>
                  <a:close/>
                  <a:moveTo>
                    <a:pt x="127004" y="272856"/>
                  </a:moveTo>
                  <a:lnTo>
                    <a:pt x="132940" y="272856"/>
                  </a:lnTo>
                  <a:lnTo>
                    <a:pt x="138781" y="272856"/>
                  </a:lnTo>
                  <a:cubicBezTo>
                    <a:pt x="166104" y="272856"/>
                    <a:pt x="188057" y="294963"/>
                    <a:pt x="188057" y="322056"/>
                  </a:cubicBezTo>
                  <a:lnTo>
                    <a:pt x="188057" y="376617"/>
                  </a:lnTo>
                  <a:cubicBezTo>
                    <a:pt x="188057" y="385084"/>
                    <a:pt x="183629" y="392609"/>
                    <a:pt x="177033" y="397031"/>
                  </a:cubicBezTo>
                  <a:lnTo>
                    <a:pt x="177033" y="449711"/>
                  </a:lnTo>
                  <a:cubicBezTo>
                    <a:pt x="177033" y="449993"/>
                    <a:pt x="177128" y="450370"/>
                    <a:pt x="177128" y="450558"/>
                  </a:cubicBezTo>
                  <a:cubicBezTo>
                    <a:pt x="166670" y="457613"/>
                    <a:pt x="155929" y="465609"/>
                    <a:pt x="145376" y="474264"/>
                  </a:cubicBezTo>
                  <a:cubicBezTo>
                    <a:pt x="133034" y="484424"/>
                    <a:pt x="125874" y="499475"/>
                    <a:pt x="125874" y="515561"/>
                  </a:cubicBezTo>
                  <a:lnTo>
                    <a:pt x="125874" y="559493"/>
                  </a:lnTo>
                  <a:lnTo>
                    <a:pt x="0" y="559493"/>
                  </a:lnTo>
                  <a:lnTo>
                    <a:pt x="0" y="522052"/>
                  </a:lnTo>
                  <a:cubicBezTo>
                    <a:pt x="0" y="514150"/>
                    <a:pt x="3486" y="506625"/>
                    <a:pt x="9704" y="501639"/>
                  </a:cubicBezTo>
                  <a:cubicBezTo>
                    <a:pt x="43434" y="473888"/>
                    <a:pt x="79990" y="455450"/>
                    <a:pt x="87433" y="451875"/>
                  </a:cubicBezTo>
                  <a:cubicBezTo>
                    <a:pt x="88281" y="451498"/>
                    <a:pt x="88846" y="450558"/>
                    <a:pt x="88846" y="449711"/>
                  </a:cubicBezTo>
                  <a:lnTo>
                    <a:pt x="88846" y="397031"/>
                  </a:lnTo>
                  <a:cubicBezTo>
                    <a:pt x="82157" y="392609"/>
                    <a:pt x="77729" y="385084"/>
                    <a:pt x="77729" y="376617"/>
                  </a:cubicBezTo>
                  <a:lnTo>
                    <a:pt x="77729" y="322056"/>
                  </a:lnTo>
                  <a:cubicBezTo>
                    <a:pt x="77729" y="294775"/>
                    <a:pt x="99870" y="272856"/>
                    <a:pt x="127004" y="272856"/>
                  </a:cubicBezTo>
                  <a:close/>
                  <a:moveTo>
                    <a:pt x="297600" y="222543"/>
                  </a:moveTo>
                  <a:lnTo>
                    <a:pt x="304477" y="222543"/>
                  </a:lnTo>
                  <a:lnTo>
                    <a:pt x="311260" y="222543"/>
                  </a:lnTo>
                  <a:cubicBezTo>
                    <a:pt x="343291" y="222543"/>
                    <a:pt x="369198" y="248506"/>
                    <a:pt x="369198" y="280395"/>
                  </a:cubicBezTo>
                  <a:lnTo>
                    <a:pt x="369198" y="344455"/>
                  </a:lnTo>
                  <a:cubicBezTo>
                    <a:pt x="369198" y="354520"/>
                    <a:pt x="364017" y="363456"/>
                    <a:pt x="356198" y="368536"/>
                  </a:cubicBezTo>
                  <a:lnTo>
                    <a:pt x="356198" y="430432"/>
                  </a:lnTo>
                  <a:cubicBezTo>
                    <a:pt x="356198" y="431561"/>
                    <a:pt x="356857" y="432502"/>
                    <a:pt x="357893" y="433066"/>
                  </a:cubicBezTo>
                  <a:cubicBezTo>
                    <a:pt x="366655" y="437299"/>
                    <a:pt x="409520" y="459029"/>
                    <a:pt x="449275" y="491576"/>
                  </a:cubicBezTo>
                  <a:cubicBezTo>
                    <a:pt x="456435" y="497502"/>
                    <a:pt x="460580" y="506251"/>
                    <a:pt x="460580" y="515563"/>
                  </a:cubicBezTo>
                  <a:lnTo>
                    <a:pt x="460580" y="559493"/>
                  </a:lnTo>
                  <a:lnTo>
                    <a:pt x="304477" y="559493"/>
                  </a:lnTo>
                  <a:lnTo>
                    <a:pt x="148187" y="559493"/>
                  </a:lnTo>
                  <a:lnTo>
                    <a:pt x="148187" y="515563"/>
                  </a:lnTo>
                  <a:cubicBezTo>
                    <a:pt x="148187" y="506251"/>
                    <a:pt x="152332" y="497502"/>
                    <a:pt x="159492" y="491576"/>
                  </a:cubicBezTo>
                  <a:cubicBezTo>
                    <a:pt x="199342" y="459029"/>
                    <a:pt x="242206" y="437299"/>
                    <a:pt x="250967" y="433066"/>
                  </a:cubicBezTo>
                  <a:cubicBezTo>
                    <a:pt x="252004" y="432502"/>
                    <a:pt x="252569" y="431561"/>
                    <a:pt x="252569" y="430432"/>
                  </a:cubicBezTo>
                  <a:lnTo>
                    <a:pt x="252569" y="368536"/>
                  </a:lnTo>
                  <a:cubicBezTo>
                    <a:pt x="244844" y="363456"/>
                    <a:pt x="239663" y="354520"/>
                    <a:pt x="239663" y="344455"/>
                  </a:cubicBezTo>
                  <a:lnTo>
                    <a:pt x="239663" y="280395"/>
                  </a:lnTo>
                  <a:cubicBezTo>
                    <a:pt x="239663" y="248412"/>
                    <a:pt x="265664" y="222543"/>
                    <a:pt x="297600" y="222543"/>
                  </a:cubicBezTo>
                  <a:close/>
                  <a:moveTo>
                    <a:pt x="492495" y="40775"/>
                  </a:moveTo>
                  <a:cubicBezTo>
                    <a:pt x="488350" y="40775"/>
                    <a:pt x="487596" y="41528"/>
                    <a:pt x="487502" y="45854"/>
                  </a:cubicBezTo>
                  <a:lnTo>
                    <a:pt x="487502" y="51498"/>
                  </a:lnTo>
                  <a:cubicBezTo>
                    <a:pt x="487502" y="57142"/>
                    <a:pt x="487502" y="56953"/>
                    <a:pt x="482038" y="59023"/>
                  </a:cubicBezTo>
                  <a:cubicBezTo>
                    <a:pt x="469036" y="63726"/>
                    <a:pt x="460934" y="72661"/>
                    <a:pt x="460086" y="86864"/>
                  </a:cubicBezTo>
                  <a:cubicBezTo>
                    <a:pt x="459332" y="99374"/>
                    <a:pt x="465833" y="107934"/>
                    <a:pt x="476196" y="114048"/>
                  </a:cubicBezTo>
                  <a:cubicBezTo>
                    <a:pt x="482414" y="117810"/>
                    <a:pt x="489480" y="120068"/>
                    <a:pt x="496264" y="123078"/>
                  </a:cubicBezTo>
                  <a:cubicBezTo>
                    <a:pt x="498902" y="124206"/>
                    <a:pt x="501445" y="125617"/>
                    <a:pt x="503706" y="127310"/>
                  </a:cubicBezTo>
                  <a:cubicBezTo>
                    <a:pt x="510207" y="132578"/>
                    <a:pt x="508982" y="141513"/>
                    <a:pt x="501257" y="144900"/>
                  </a:cubicBezTo>
                  <a:cubicBezTo>
                    <a:pt x="497112" y="146781"/>
                    <a:pt x="492778" y="147157"/>
                    <a:pt x="488350" y="146687"/>
                  </a:cubicBezTo>
                  <a:cubicBezTo>
                    <a:pt x="481472" y="145746"/>
                    <a:pt x="474783" y="144053"/>
                    <a:pt x="468659" y="140761"/>
                  </a:cubicBezTo>
                  <a:cubicBezTo>
                    <a:pt x="464985" y="138880"/>
                    <a:pt x="463949" y="139350"/>
                    <a:pt x="462724" y="143301"/>
                  </a:cubicBezTo>
                  <a:cubicBezTo>
                    <a:pt x="461593" y="146687"/>
                    <a:pt x="460557" y="150167"/>
                    <a:pt x="459709" y="153553"/>
                  </a:cubicBezTo>
                  <a:cubicBezTo>
                    <a:pt x="458484" y="158162"/>
                    <a:pt x="458861" y="159291"/>
                    <a:pt x="463572" y="161548"/>
                  </a:cubicBezTo>
                  <a:cubicBezTo>
                    <a:pt x="469130" y="164370"/>
                    <a:pt x="475160" y="165687"/>
                    <a:pt x="481284" y="166722"/>
                  </a:cubicBezTo>
                  <a:cubicBezTo>
                    <a:pt x="486089" y="167474"/>
                    <a:pt x="486371" y="167568"/>
                    <a:pt x="486371" y="172647"/>
                  </a:cubicBezTo>
                  <a:lnTo>
                    <a:pt x="486371" y="179420"/>
                  </a:lnTo>
                  <a:cubicBezTo>
                    <a:pt x="486371" y="182147"/>
                    <a:pt x="487690" y="183934"/>
                    <a:pt x="490611" y="183934"/>
                  </a:cubicBezTo>
                  <a:cubicBezTo>
                    <a:pt x="493908" y="184029"/>
                    <a:pt x="497300" y="184029"/>
                    <a:pt x="500503" y="183934"/>
                  </a:cubicBezTo>
                  <a:cubicBezTo>
                    <a:pt x="503330" y="183934"/>
                    <a:pt x="504649" y="182430"/>
                    <a:pt x="504649" y="179608"/>
                  </a:cubicBezTo>
                  <a:cubicBezTo>
                    <a:pt x="504649" y="176504"/>
                    <a:pt x="504837" y="173494"/>
                    <a:pt x="504649" y="170390"/>
                  </a:cubicBezTo>
                  <a:cubicBezTo>
                    <a:pt x="504554" y="167192"/>
                    <a:pt x="505968" y="165687"/>
                    <a:pt x="508982" y="164840"/>
                  </a:cubicBezTo>
                  <a:cubicBezTo>
                    <a:pt x="515860" y="162959"/>
                    <a:pt x="521889" y="159197"/>
                    <a:pt x="526412" y="153647"/>
                  </a:cubicBezTo>
                  <a:cubicBezTo>
                    <a:pt x="538942" y="138221"/>
                    <a:pt x="534231" y="115835"/>
                    <a:pt x="516237" y="105865"/>
                  </a:cubicBezTo>
                  <a:cubicBezTo>
                    <a:pt x="510584" y="102761"/>
                    <a:pt x="504554" y="100503"/>
                    <a:pt x="498619" y="97964"/>
                  </a:cubicBezTo>
                  <a:cubicBezTo>
                    <a:pt x="495227" y="96647"/>
                    <a:pt x="492024" y="94860"/>
                    <a:pt x="489104" y="92602"/>
                  </a:cubicBezTo>
                  <a:cubicBezTo>
                    <a:pt x="483451" y="88087"/>
                    <a:pt x="484581" y="80657"/>
                    <a:pt x="491270" y="77835"/>
                  </a:cubicBezTo>
                  <a:cubicBezTo>
                    <a:pt x="493155" y="76894"/>
                    <a:pt x="495133" y="76706"/>
                    <a:pt x="497112" y="76518"/>
                  </a:cubicBezTo>
                  <a:cubicBezTo>
                    <a:pt x="504931" y="76142"/>
                    <a:pt x="512186" y="77553"/>
                    <a:pt x="519252" y="80939"/>
                  </a:cubicBezTo>
                  <a:cubicBezTo>
                    <a:pt x="522643" y="82538"/>
                    <a:pt x="523868" y="82067"/>
                    <a:pt x="524998" y="78399"/>
                  </a:cubicBezTo>
                  <a:cubicBezTo>
                    <a:pt x="526317" y="74543"/>
                    <a:pt x="527260" y="70686"/>
                    <a:pt x="528390" y="66736"/>
                  </a:cubicBezTo>
                  <a:cubicBezTo>
                    <a:pt x="529144" y="64102"/>
                    <a:pt x="528296" y="62503"/>
                    <a:pt x="525752" y="61374"/>
                  </a:cubicBezTo>
                  <a:cubicBezTo>
                    <a:pt x="521230" y="59399"/>
                    <a:pt x="516708" y="57988"/>
                    <a:pt x="511809" y="57236"/>
                  </a:cubicBezTo>
                  <a:cubicBezTo>
                    <a:pt x="505402" y="56201"/>
                    <a:pt x="505402" y="56201"/>
                    <a:pt x="505402" y="49805"/>
                  </a:cubicBezTo>
                  <a:cubicBezTo>
                    <a:pt x="505402" y="40775"/>
                    <a:pt x="505402" y="40775"/>
                    <a:pt x="496358" y="40775"/>
                  </a:cubicBezTo>
                  <a:close/>
                  <a:moveTo>
                    <a:pt x="496111" y="0"/>
                  </a:moveTo>
                  <a:cubicBezTo>
                    <a:pt x="524951" y="0"/>
                    <a:pt x="553781" y="10958"/>
                    <a:pt x="575779" y="32874"/>
                  </a:cubicBezTo>
                  <a:cubicBezTo>
                    <a:pt x="619776" y="76894"/>
                    <a:pt x="619776" y="148192"/>
                    <a:pt x="575779" y="192024"/>
                  </a:cubicBezTo>
                  <a:cubicBezTo>
                    <a:pt x="538754" y="229083"/>
                    <a:pt x="482226" y="234821"/>
                    <a:pt x="438982" y="209519"/>
                  </a:cubicBezTo>
                  <a:lnTo>
                    <a:pt x="438700" y="209237"/>
                  </a:lnTo>
                  <a:cubicBezTo>
                    <a:pt x="421742" y="222029"/>
                    <a:pt x="403559" y="224286"/>
                    <a:pt x="390840" y="222311"/>
                  </a:cubicBezTo>
                  <a:cubicBezTo>
                    <a:pt x="386600" y="221653"/>
                    <a:pt x="385752" y="215915"/>
                    <a:pt x="389615" y="214034"/>
                  </a:cubicBezTo>
                  <a:cubicBezTo>
                    <a:pt x="401297" y="208202"/>
                    <a:pt x="408552" y="196915"/>
                    <a:pt x="412886" y="187791"/>
                  </a:cubicBezTo>
                  <a:lnTo>
                    <a:pt x="411567" y="187038"/>
                  </a:lnTo>
                  <a:cubicBezTo>
                    <a:pt x="372374" y="142736"/>
                    <a:pt x="374070" y="75201"/>
                    <a:pt x="416371" y="32874"/>
                  </a:cubicBezTo>
                  <a:cubicBezTo>
                    <a:pt x="438417" y="10958"/>
                    <a:pt x="467270" y="0"/>
                    <a:pt x="496111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764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18592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420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764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411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764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18592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440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7641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127</TotalTime>
  <Words>2258</Words>
  <Application>Microsoft Office PowerPoint</Application>
  <PresentationFormat>宽屏</PresentationFormat>
  <Paragraphs>386</Paragraphs>
  <Slides>39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39</vt:i4>
      </vt:variant>
    </vt:vector>
  </HeadingPairs>
  <TitlesOfParts>
    <vt:vector size="45" baseType="lpstr">
      <vt:lpstr>Arial</vt:lpstr>
      <vt:lpstr>Calibri</vt:lpstr>
      <vt:lpstr>Impact</vt:lpstr>
      <vt:lpstr>Times New Roman</vt:lpstr>
      <vt:lpstr>Wingdings</vt:lpstr>
      <vt:lpstr>主题5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课后作业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学 习 进 步 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玮 玮 李</cp:lastModifiedBy>
  <cp:revision>124</cp:revision>
  <cp:lastPrinted>2019-04-18T16:00:00Z</cp:lastPrinted>
  <dcterms:created xsi:type="dcterms:W3CDTF">2019-04-18T16:00:00Z</dcterms:created>
  <dcterms:modified xsi:type="dcterms:W3CDTF">2025-02-24T09:56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50D6099EDE423F9644FD0920CD3DFA</vt:lpwstr>
  </property>
  <property fmtid="{D5CDD505-2E9C-101B-9397-08002B2CF9AE}" pid="4" name="KSOProductBuildVer">
    <vt:lpwstr>2052-11.1.0.10356</vt:lpwstr>
  </property>
</Properties>
</file>